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tiff" ContentType="image/tif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71" r:id="rId5"/>
    <p:sldId id="274" r:id="rId6"/>
    <p:sldId id="272" r:id="rId7"/>
    <p:sldId id="277" r:id="rId8"/>
    <p:sldId id="286" r:id="rId9"/>
    <p:sldId id="279" r:id="rId10"/>
    <p:sldId id="285" r:id="rId11"/>
    <p:sldId id="287" r:id="rId12"/>
    <p:sldId id="288" r:id="rId13"/>
    <p:sldId id="289" r:id="rId14"/>
    <p:sldId id="284" r:id="rId15"/>
    <p:sldId id="290" r:id="rId16"/>
  </p:sldIdLst>
  <p:sldSz cx="9906000" cy="6858000" type="A4"/>
  <p:notesSz cx="6735763" cy="9866313"/>
  <p:custDataLst>
    <p:tags r:id="rId19"/>
  </p:custDataLst>
  <p:defaultTextStyle>
    <a:defPPr>
      <a:defRPr lang="en-US"/>
    </a:defPPr>
    <a:lvl1pPr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indrajit" initials="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99"/>
    <a:srgbClr val="990000"/>
    <a:srgbClr val="000080"/>
    <a:srgbClr val="FF9900"/>
    <a:srgbClr val="FFFF99"/>
    <a:srgbClr val="CCECFF"/>
    <a:srgbClr val="B4B4EB"/>
    <a:srgbClr val="FFFFC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86" autoAdjust="0"/>
    <p:restoredTop sz="86477" autoAdjust="0"/>
  </p:normalViewPr>
  <p:slideViewPr>
    <p:cSldViewPr snapToGrid="0">
      <p:cViewPr varScale="1">
        <p:scale>
          <a:sx n="100" d="100"/>
          <a:sy n="100" d="100"/>
        </p:scale>
        <p:origin x="-96" y="-282"/>
      </p:cViewPr>
      <p:guideLst>
        <p:guide orient="horz" pos="2161"/>
        <p:guide pos="3121"/>
      </p:guideLst>
    </p:cSldViewPr>
  </p:slideViewPr>
  <p:outlineViewPr>
    <p:cViewPr>
      <p:scale>
        <a:sx n="33" d="100"/>
        <a:sy n="33" d="100"/>
      </p:scale>
      <p:origin x="258" y="763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>
        <p:scale>
          <a:sx n="150" d="100"/>
          <a:sy n="150" d="100"/>
        </p:scale>
        <p:origin x="-600" y="-84"/>
      </p:cViewPr>
      <p:guideLst>
        <p:guide orient="horz" pos="3108"/>
        <p:guide pos="2123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9123" cy="49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96" tIns="46547" rIns="93096" bIns="46547" numCol="1" anchor="t" anchorCtr="0" compatLnSpc="1">
            <a:prstTxWarp prst="textNoShape">
              <a:avLst/>
            </a:prstTxWarp>
          </a:bodyPr>
          <a:lstStyle>
            <a:lvl1pPr algn="l" defTabSz="930275">
              <a:defRPr sz="1000"/>
            </a:lvl1pPr>
          </a:lstStyle>
          <a:p>
            <a:endParaRPr lang="en-GB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641" y="0"/>
            <a:ext cx="2917661" cy="49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96" tIns="46547" rIns="93096" bIns="46547" numCol="1" anchor="t" anchorCtr="0" compatLnSpc="1">
            <a:prstTxWarp prst="textNoShape">
              <a:avLst/>
            </a:prstTxWarp>
          </a:bodyPr>
          <a:lstStyle>
            <a:lvl1pPr defTabSz="930275">
              <a:defRPr sz="1000"/>
            </a:lvl1pPr>
          </a:lstStyle>
          <a:p>
            <a:endParaRPr lang="en-GB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3650"/>
            <a:ext cx="2919123" cy="49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96" tIns="46547" rIns="93096" bIns="46547" numCol="1" anchor="b" anchorCtr="0" compatLnSpc="1">
            <a:prstTxWarp prst="textNoShape">
              <a:avLst/>
            </a:prstTxWarp>
          </a:bodyPr>
          <a:lstStyle>
            <a:lvl1pPr algn="l" defTabSz="930275">
              <a:defRPr sz="1000"/>
            </a:lvl1pPr>
          </a:lstStyle>
          <a:p>
            <a:endParaRPr lang="en-GB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6641" y="9373650"/>
            <a:ext cx="2917661" cy="49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96" tIns="46547" rIns="93096" bIns="46547" numCol="1" anchor="b" anchorCtr="0" compatLnSpc="1">
            <a:prstTxWarp prst="textNoShape">
              <a:avLst/>
            </a:prstTxWarp>
          </a:bodyPr>
          <a:lstStyle>
            <a:lvl1pPr defTabSz="930275">
              <a:defRPr sz="1000"/>
            </a:lvl1pPr>
          </a:lstStyle>
          <a:p>
            <a:fld id="{829CEA9A-6136-46D6-8BDE-3A437515AA5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818200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714158" cy="49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96" tIns="46547" rIns="93096" bIns="46547" numCol="1" anchor="t" anchorCtr="0" compatLnSpc="1">
            <a:prstTxWarp prst="textNoShape">
              <a:avLst/>
            </a:prstTxWarp>
          </a:bodyPr>
          <a:lstStyle>
            <a:lvl1pPr algn="l" defTabSz="930275">
              <a:defRPr sz="1000"/>
            </a:lvl1pPr>
          </a:lstStyle>
          <a:p>
            <a:endParaRPr lang="en-GB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64378" y="0"/>
            <a:ext cx="1569924" cy="49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96" tIns="46547" rIns="93096" bIns="46547" numCol="1" anchor="t" anchorCtr="0" compatLnSpc="1">
            <a:prstTxWarp prst="textNoShape">
              <a:avLst/>
            </a:prstTxWarp>
          </a:bodyPr>
          <a:lstStyle>
            <a:lvl1pPr defTabSz="930275">
              <a:defRPr sz="1000"/>
            </a:lvl1pPr>
          </a:lstStyle>
          <a:p>
            <a:endParaRPr lang="en-GB"/>
          </a:p>
        </p:txBody>
      </p:sp>
      <p:sp>
        <p:nvSpPr>
          <p:cNvPr id="675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35587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0946" y="4685193"/>
            <a:ext cx="5393873" cy="4437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96" tIns="46547" rIns="93096" bIns="465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3650"/>
            <a:ext cx="2919123" cy="49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96" tIns="46547" rIns="93096" bIns="46547" numCol="1" anchor="b" anchorCtr="0" compatLnSpc="1">
            <a:prstTxWarp prst="textNoShape">
              <a:avLst/>
            </a:prstTxWarp>
          </a:bodyPr>
          <a:lstStyle>
            <a:lvl1pPr algn="l" defTabSz="930275">
              <a:defRPr sz="1000"/>
            </a:lvl1pPr>
          </a:lstStyle>
          <a:p>
            <a:endParaRPr lang="en-GB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6641" y="9373650"/>
            <a:ext cx="2917661" cy="49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096" tIns="46547" rIns="93096" bIns="46547" numCol="1" anchor="b" anchorCtr="0" compatLnSpc="1">
            <a:prstTxWarp prst="textNoShape">
              <a:avLst/>
            </a:prstTxWarp>
          </a:bodyPr>
          <a:lstStyle>
            <a:lvl1pPr defTabSz="930275">
              <a:defRPr sz="1000"/>
            </a:lvl1pPr>
          </a:lstStyle>
          <a:p>
            <a:fld id="{30C651E2-AC6C-4C0C-8FA5-5BE2AA313B2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2386944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12259" y="356179"/>
            <a:ext cx="2849732" cy="2015160"/>
          </a:xfrm>
          <a:prstGeom prst="rect">
            <a:avLst/>
          </a:prstGeom>
        </p:spPr>
      </p:pic>
      <p:sp>
        <p:nvSpPr>
          <p:cNvPr id="5" name="Rectangle 16"/>
          <p:cNvSpPr>
            <a:spLocks noChangeArrowheads="1"/>
          </p:cNvSpPr>
          <p:nvPr/>
        </p:nvSpPr>
        <p:spPr bwMode="auto">
          <a:xfrm>
            <a:off x="0" y="0"/>
            <a:ext cx="9906000" cy="376238"/>
          </a:xfrm>
          <a:prstGeom prst="rect">
            <a:avLst/>
          </a:prstGeom>
          <a:solidFill>
            <a:srgbClr val="9C9D9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</a:rPr>
              <a:t>© 2013 Cairn India Limited</a:t>
            </a:r>
          </a:p>
        </p:txBody>
      </p:sp>
      <p:sp>
        <p:nvSpPr>
          <p:cNvPr id="7200" name="Rectangle 32"/>
          <p:cNvSpPr>
            <a:spLocks noGrp="1" noChangeArrowheads="1"/>
          </p:cNvSpPr>
          <p:nvPr>
            <p:ph type="ctrTitle"/>
          </p:nvPr>
        </p:nvSpPr>
        <p:spPr>
          <a:xfrm>
            <a:off x="495300" y="3559175"/>
            <a:ext cx="8915400" cy="454025"/>
          </a:xfrm>
        </p:spPr>
        <p:txBody>
          <a:bodyPr anchor="t"/>
          <a:lstStyle>
            <a:lvl1pPr algn="ctr">
              <a:defRPr sz="2800">
                <a:solidFill>
                  <a:srgbClr val="000099"/>
                </a:solidFill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altLang="ja-JP" dirty="0"/>
          </a:p>
        </p:txBody>
      </p:sp>
      <p:sp>
        <p:nvSpPr>
          <p:cNvPr id="7201" name="Rectangle 3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4060825"/>
            <a:ext cx="6934200" cy="4572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400" b="0">
                <a:solidFill>
                  <a:srgbClr val="000099"/>
                </a:solidFill>
              </a:defRPr>
            </a:lvl1pPr>
          </a:lstStyle>
          <a:p>
            <a:r>
              <a:rPr lang="en-US" altLang="ja-JP" smtClean="0"/>
              <a:t>Click to edit Master subtitle style</a:t>
            </a:r>
            <a:endParaRPr lang="en-US" altLang="ja-JP" dirty="0"/>
          </a:p>
        </p:txBody>
      </p:sp>
      <p:sp>
        <p:nvSpPr>
          <p:cNvPr id="8" name="Rectangle 31"/>
          <p:cNvSpPr>
            <a:spLocks noGrp="1" noChangeArrowheads="1"/>
          </p:cNvSpPr>
          <p:nvPr>
            <p:ph type="dt" sz="half" idx="11"/>
          </p:nvPr>
        </p:nvSpPr>
        <p:spPr bwMode="auto">
          <a:xfrm>
            <a:off x="1981200" y="4699000"/>
            <a:ext cx="5943600" cy="3048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kumimoji="1" sz="2000" b="0">
                <a:solidFill>
                  <a:srgbClr val="000099"/>
                </a:solidFill>
                <a:latin typeface="+mj-lt"/>
                <a:ea typeface="Osaka"/>
                <a:cs typeface="Osaka"/>
              </a:defRPr>
            </a:lvl1pPr>
          </a:lstStyle>
          <a:p>
            <a:endParaRPr lang="en-US" altLang="ja-JP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84174" y="6523508"/>
            <a:ext cx="9326880" cy="0"/>
          </a:xfrm>
          <a:prstGeom prst="line">
            <a:avLst/>
          </a:prstGeom>
          <a:ln>
            <a:solidFill>
              <a:srgbClr val="0000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8" descr="C:\Documents and Settings\gusurya\Desktop\test\MPT\_VAC7132_11-01-06_15373.jpg"/>
          <p:cNvPicPr preferRelativeResize="0">
            <a:picLocks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22725" y="5244417"/>
            <a:ext cx="1828800" cy="1207008"/>
          </a:xfrm>
          <a:prstGeom prst="rect">
            <a:avLst/>
          </a:prstGeom>
          <a:noFill/>
        </p:spPr>
      </p:pic>
      <p:pic>
        <p:nvPicPr>
          <p:cNvPr id="29" name="Picture 28" descr="http://172.16.158.73/CIG/image.php?src=CIG/Admin/Photos/JPG/file_2_5_6_2010_8_39_34_722_12.jpg&amp;w=190&amp;h=150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69441" y="5244417"/>
            <a:ext cx="1809750" cy="1209676"/>
          </a:xfrm>
          <a:prstGeom prst="rect">
            <a:avLst/>
          </a:prstGeom>
          <a:noFill/>
        </p:spPr>
      </p:pic>
      <p:pic>
        <p:nvPicPr>
          <p:cNvPr id="31" name="Picture 28" descr="http://172.16.158.73/CIG/image.php?src=CIG/Admin/Photos/JPG/file_9_3_5_2010_17_9_8_151_23.jpg&amp;w=190&amp;h=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95059" y="5244417"/>
            <a:ext cx="1809750" cy="1209676"/>
          </a:xfrm>
          <a:prstGeom prst="rect">
            <a:avLst/>
          </a:prstGeom>
          <a:noFill/>
        </p:spPr>
      </p:pic>
      <p:pic>
        <p:nvPicPr>
          <p:cNvPr id="32" name="Picture 11" descr="http://172.16.158.73/cig/image.php?src=CIG/Admin/Photos/JPG/file_31_1_4_2010_16_12_18_760_14.jpg&amp;w=190&amp;h=150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7107" y="5244417"/>
            <a:ext cx="1809750" cy="1209676"/>
          </a:xfrm>
          <a:prstGeom prst="rect">
            <a:avLst/>
          </a:prstGeom>
          <a:noFill/>
        </p:spPr>
      </p:pic>
      <p:pic>
        <p:nvPicPr>
          <p:cNvPr id="35" name="Picture 20" descr="http://172.16.158.73/CIG/image.php?src=CIG/Admin/Photos/JPG/file_2_5_6_2010_9_35_48_553_4.jpg&amp;w=190&amp;h=150"/>
          <p:cNvPicPr preferRelativeResize="0">
            <a:picLocks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7393" y="5244417"/>
            <a:ext cx="1809750" cy="120700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5013" y="498475"/>
            <a:ext cx="2166937" cy="56165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4200" y="498475"/>
            <a:ext cx="6348413" cy="56165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06388" y="498475"/>
            <a:ext cx="7718425" cy="6524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6388" y="1619250"/>
            <a:ext cx="4257675" cy="2171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16463" y="1619250"/>
            <a:ext cx="4257675" cy="2171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06388" y="3943350"/>
            <a:ext cx="4257675" cy="2171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6463" y="3943350"/>
            <a:ext cx="4257675" cy="2171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388" y="498475"/>
            <a:ext cx="7718425" cy="6524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6388" y="1619250"/>
            <a:ext cx="4257675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716463" y="1619250"/>
            <a:ext cx="4257675" cy="4495800"/>
          </a:xfrm>
        </p:spPr>
        <p:txBody>
          <a:bodyPr/>
          <a:lstStyle/>
          <a:p>
            <a:r>
              <a:rPr lang="en-US" smtClean="0"/>
              <a:t>Click icon to add clip art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388" y="498475"/>
            <a:ext cx="8329612" cy="652463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388" y="1231900"/>
            <a:ext cx="9358312" cy="5321300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4200" y="1619250"/>
            <a:ext cx="4257675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94275" y="1619250"/>
            <a:ext cx="4257675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372104" y="415636"/>
            <a:ext cx="1533896" cy="7837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Rectangle 20"/>
          <p:cNvSpPr>
            <a:spLocks noChangeArrowheads="1"/>
          </p:cNvSpPr>
          <p:nvPr/>
        </p:nvSpPr>
        <p:spPr bwMode="auto">
          <a:xfrm>
            <a:off x="0" y="0"/>
            <a:ext cx="9906000" cy="360363"/>
          </a:xfrm>
          <a:prstGeom prst="rect">
            <a:avLst/>
          </a:prstGeom>
          <a:solidFill>
            <a:srgbClr val="9C9D9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</a:rPr>
              <a:t>© 2013 Cairn India Limited</a:t>
            </a:r>
          </a:p>
        </p:txBody>
      </p:sp>
      <p:sp>
        <p:nvSpPr>
          <p:cNvPr id="4100" name="Rectangle 21"/>
          <p:cNvSpPr>
            <a:spLocks noGrp="1" noChangeArrowheads="1"/>
          </p:cNvSpPr>
          <p:nvPr>
            <p:ph type="title"/>
          </p:nvPr>
        </p:nvSpPr>
        <p:spPr bwMode="auto">
          <a:xfrm>
            <a:off x="306388" y="428135"/>
            <a:ext cx="8304212" cy="65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altLang="ja-JP" dirty="0" smtClean="0"/>
          </a:p>
        </p:txBody>
      </p:sp>
      <p:sp>
        <p:nvSpPr>
          <p:cNvPr id="4101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6388" y="1244600"/>
            <a:ext cx="9371012" cy="537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US" altLang="ja-JP" dirty="0" smtClean="0"/>
          </a:p>
        </p:txBody>
      </p:sp>
      <p:sp>
        <p:nvSpPr>
          <p:cNvPr id="1053" name="Text Box 29"/>
          <p:cNvSpPr txBox="1">
            <a:spLocks noChangeArrowheads="1"/>
          </p:cNvSpPr>
          <p:nvPr/>
        </p:nvSpPr>
        <p:spPr bwMode="auto">
          <a:xfrm>
            <a:off x="9505950" y="38100"/>
            <a:ext cx="3417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fld id="{BEA09DC3-9A51-4C32-BDFC-FFD3B3D16337}" type="slidenum">
              <a:rPr lang="en-US" sz="1000">
                <a:solidFill>
                  <a:schemeClr val="bg1"/>
                </a:solidFill>
              </a:rPr>
              <a:pPr algn="l">
                <a:defRPr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298688" y="6675908"/>
            <a:ext cx="9381744" cy="0"/>
          </a:xfrm>
          <a:prstGeom prst="line">
            <a:avLst/>
          </a:prstGeom>
          <a:ln>
            <a:solidFill>
              <a:srgbClr val="0000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CAIRN.jp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8666872" y="410893"/>
            <a:ext cx="1155700" cy="70453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009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FFFFF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FFFFF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FFFFF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FFFFF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FFFFF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FFFFF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FFFFF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FFFFFF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2000">
          <a:solidFill>
            <a:srgbClr val="000099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2000">
          <a:solidFill>
            <a:srgbClr val="000099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>
          <a:solidFill>
            <a:srgbClr val="000099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rgbClr val="000099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rgbClr val="000099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>
          <a:solidFill>
            <a:schemeClr val="accent2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>
          <a:solidFill>
            <a:schemeClr val="accent2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>
          <a:solidFill>
            <a:schemeClr val="accent2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>
          <a:solidFill>
            <a:schemeClr val="accent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5.jpeg"/><Relationship Id="rId4" Type="http://schemas.openxmlformats.org/officeDocument/2006/relationships/image" Target="../media/image3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tiff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95300" y="2286000"/>
            <a:ext cx="8915400" cy="1450757"/>
          </a:xfrm>
        </p:spPr>
        <p:txBody>
          <a:bodyPr anchor="ctr"/>
          <a:lstStyle/>
          <a:p>
            <a:pPr eaLnBrk="1" hangingPunct="1"/>
            <a:r>
              <a:rPr lang="en-US" sz="2400" dirty="0" smtClean="0">
                <a:latin typeface="Microsoft Sans Serif" pitchFamily="34" charset="0"/>
                <a:cs typeface="Microsoft Sans Serif" pitchFamily="34" charset="0"/>
              </a:rPr>
              <a:t>MEASURES TO BE TAKEN AT DESIGN STAGE FOR </a:t>
            </a:r>
            <a:br>
              <a:rPr lang="en-US" sz="2400" dirty="0" smtClean="0">
                <a:latin typeface="Microsoft Sans Serif" pitchFamily="34" charset="0"/>
                <a:cs typeface="Microsoft Sans Serif" pitchFamily="34" charset="0"/>
              </a:rPr>
            </a:br>
            <a:r>
              <a:rPr lang="en-US" sz="2400" dirty="0" smtClean="0">
                <a:latin typeface="Microsoft Sans Serif" pitchFamily="34" charset="0"/>
                <a:cs typeface="Microsoft Sans Serif" pitchFamily="34" charset="0"/>
              </a:rPr>
              <a:t>IMPROVING QUALITY</a:t>
            </a:r>
            <a:br>
              <a:rPr lang="en-US" sz="2400" dirty="0" smtClean="0">
                <a:latin typeface="Microsoft Sans Serif" pitchFamily="34" charset="0"/>
                <a:cs typeface="Microsoft Sans Serif" pitchFamily="34" charset="0"/>
              </a:rPr>
            </a:br>
            <a:r>
              <a:rPr lang="en-US" sz="800" dirty="0" smtClean="0">
                <a:latin typeface="Microsoft Sans Serif" pitchFamily="34" charset="0"/>
                <a:cs typeface="Microsoft Sans Serif" pitchFamily="34" charset="0"/>
              </a:rPr>
              <a:t/>
            </a:r>
            <a:br>
              <a:rPr lang="en-US" sz="800" dirty="0" smtClean="0">
                <a:latin typeface="Microsoft Sans Serif" pitchFamily="34" charset="0"/>
                <a:cs typeface="Microsoft Sans Serif" pitchFamily="34" charset="0"/>
              </a:rPr>
            </a:br>
            <a:r>
              <a:rPr lang="en-US" sz="2000" dirty="0" smtClean="0">
                <a:latin typeface="Microsoft Sans Serif" pitchFamily="34" charset="0"/>
                <a:cs typeface="Microsoft Sans Serif" pitchFamily="34" charset="0"/>
              </a:rPr>
              <a:t>GATED  PROCESS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15560" y="4325594"/>
            <a:ext cx="7043738" cy="724708"/>
          </a:xfrm>
        </p:spPr>
        <p:txBody>
          <a:bodyPr anchor="ctr"/>
          <a:lstStyle/>
          <a:p>
            <a:pPr eaLnBrk="1" hangingPunct="1"/>
            <a:r>
              <a:rPr lang="en-US" sz="1800" b="0" dirty="0" smtClean="0">
                <a:latin typeface="Microsoft Sans Serif" pitchFamily="34" charset="0"/>
                <a:cs typeface="Microsoft Sans Serif" pitchFamily="34" charset="0"/>
              </a:rPr>
              <a:t>Anirban Ghosh</a:t>
            </a:r>
          </a:p>
          <a:p>
            <a:pPr eaLnBrk="1" hangingPunct="1"/>
            <a:r>
              <a:rPr lang="en-US" sz="1800" dirty="0" smtClean="0">
                <a:latin typeface="Microsoft Sans Serif" pitchFamily="34" charset="0"/>
                <a:cs typeface="Microsoft Sans Serif" pitchFamily="34" charset="0"/>
              </a:rPr>
              <a:t>Senior Manager- Quality Assurance</a:t>
            </a:r>
          </a:p>
          <a:p>
            <a:pPr eaLnBrk="1" hangingPunct="1"/>
            <a:r>
              <a:rPr lang="en-US" sz="1800" b="1" dirty="0" smtClean="0">
                <a:latin typeface="Microsoft Sans Serif" pitchFamily="34" charset="0"/>
                <a:cs typeface="Microsoft Sans Serif" pitchFamily="34" charset="0"/>
              </a:rPr>
              <a:t>CAIRN INDIA LIMITED</a:t>
            </a:r>
          </a:p>
        </p:txBody>
      </p:sp>
    </p:spTree>
    <p:extLst>
      <p:ext uri="{BB962C8B-B14F-4D97-AF65-F5344CB8AC3E}">
        <p14:creationId xmlns:p14="http://schemas.microsoft.com/office/powerpoint/2010/main" xmlns="" val="336663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388" y="1034715"/>
            <a:ext cx="9161462" cy="1913022"/>
          </a:xfrm>
        </p:spPr>
        <p:txBody>
          <a:bodyPr/>
          <a:lstStyle/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dirty="0" smtClean="0"/>
              <a:t>A  well planned schedule in Advance</a:t>
            </a:r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dirty="0" smtClean="0"/>
              <a:t>Empowerment on respective Gate Keepers</a:t>
            </a:r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dirty="0" smtClean="0"/>
              <a:t>Engaging Consultants</a:t>
            </a:r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dirty="0" smtClean="0"/>
              <a:t>Lesson Learnt data base for reference</a:t>
            </a:r>
          </a:p>
          <a:p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306388" y="556843"/>
            <a:ext cx="8329612" cy="357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0009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9pPr>
          </a:lstStyle>
          <a:p>
            <a:r>
              <a:rPr lang="en-US" sz="2000" dirty="0" smtClean="0"/>
              <a:t>GATED PROCESS:  - </a:t>
            </a:r>
            <a:r>
              <a:rPr lang="en-US" sz="2000" dirty="0"/>
              <a:t>Mitigation to the Challenges :</a:t>
            </a:r>
          </a:p>
        </p:txBody>
      </p:sp>
      <p:pic>
        <p:nvPicPr>
          <p:cNvPr id="4098" name="Picture 2" descr="D:\KVSNHL SASTRY\New folder\_VAC7149_11-01-06_1539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45663" y="5222203"/>
            <a:ext cx="1908000" cy="1267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D:\KVSNHL SASTRY\New folder\bMPT-3827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89727" y="5222203"/>
            <a:ext cx="1908000" cy="1267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:\KVSNHL SASTRY\New folder\Cairn_MG_549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748" y="5222203"/>
            <a:ext cx="1908000" cy="127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 descr="D:\KVSNHL SASTRY\New folder\Cairn_Q0B277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33309" y="5222203"/>
            <a:ext cx="1908000" cy="127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D:\KVSNHL SASTRY\New folder\Cairn_Q0B432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21951" y="5222203"/>
            <a:ext cx="1908000" cy="127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432037" y="2057400"/>
            <a:ext cx="8964072" cy="2145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sz="1800" dirty="0"/>
              <a:t>Assuring the proper material, welding and NDT procedures at the design stage itself</a:t>
            </a:r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sz="1800" dirty="0" smtClean="0"/>
              <a:t>Adhering </a:t>
            </a:r>
            <a:r>
              <a:rPr lang="en-US" sz="1800" dirty="0"/>
              <a:t>the recommendations of the </a:t>
            </a:r>
            <a:r>
              <a:rPr lang="en-US" sz="1800" dirty="0" err="1"/>
              <a:t>Jaipur</a:t>
            </a:r>
            <a:r>
              <a:rPr lang="en-US" sz="1800" dirty="0"/>
              <a:t> and </a:t>
            </a:r>
            <a:r>
              <a:rPr lang="en-US" sz="1800" dirty="0" err="1"/>
              <a:t>Hazira</a:t>
            </a:r>
            <a:r>
              <a:rPr lang="en-US" sz="1800" dirty="0"/>
              <a:t> Fire Incidents </a:t>
            </a:r>
            <a:r>
              <a:rPr lang="en-US" sz="1800" dirty="0" smtClean="0"/>
              <a:t>in design</a:t>
            </a:r>
            <a:endParaRPr lang="en-US" sz="1800" dirty="0"/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sz="1800" dirty="0" smtClean="0"/>
              <a:t>Ensuring Implementation of requirements from codes, standards, specifications</a:t>
            </a:r>
            <a:endParaRPr lang="en-US" sz="1800" dirty="0"/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sz="1800" dirty="0" smtClean="0"/>
              <a:t>Compliance </a:t>
            </a:r>
            <a:r>
              <a:rPr lang="en-US" sz="1800" dirty="0"/>
              <a:t>to all regulatory and legal </a:t>
            </a:r>
            <a:r>
              <a:rPr lang="en-US" sz="1800" dirty="0" smtClean="0"/>
              <a:t>requirements</a:t>
            </a:r>
            <a:endParaRPr lang="en-US" sz="1800" dirty="0"/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sz="1800" dirty="0" smtClean="0"/>
              <a:t>Ensuring proper utility coverage of critical equipments and instruments</a:t>
            </a:r>
            <a:endParaRPr lang="en-US" sz="1800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31289" y="866775"/>
            <a:ext cx="8329612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0009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9pPr>
          </a:lstStyle>
          <a:p>
            <a:r>
              <a:rPr lang="en-US" sz="2000" dirty="0" smtClean="0"/>
              <a:t>Benefits reaped through GATED </a:t>
            </a:r>
            <a:r>
              <a:rPr lang="en-US" sz="2000" dirty="0" smtClean="0"/>
              <a:t> </a:t>
            </a:r>
            <a:r>
              <a:rPr lang="en-US" sz="2000" dirty="0" smtClean="0"/>
              <a:t>Process</a:t>
            </a:r>
            <a:r>
              <a:rPr lang="en-US" sz="2000" dirty="0" smtClean="0"/>
              <a:t>:</a:t>
            </a:r>
            <a:r>
              <a:rPr lang="en-US" sz="2000" dirty="0" smtClean="0"/>
              <a:t/>
            </a:r>
            <a:br>
              <a:rPr lang="en-US" sz="2000" dirty="0" smtClean="0"/>
            </a:br>
            <a:endParaRPr lang="en-US" sz="2000" dirty="0"/>
          </a:p>
        </p:txBody>
      </p:sp>
      <p:pic>
        <p:nvPicPr>
          <p:cNvPr id="2050" name="Picture 2" descr="D:\KVSNHL SASTRY\New folder\Cairn_MG_482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354" y="5325370"/>
            <a:ext cx="1884112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D:\KVSNHL SASTRY\New folder\_MG_015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20167" y="5325370"/>
            <a:ext cx="1892957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D:\KVSNHL SASTRY\New folder\YE0N7155 RET LB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94527" y="5325370"/>
            <a:ext cx="1892957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D:\KVSNHL SASTRY\New folder\_VAC7074_11-01-06_1531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02309" y="5325370"/>
            <a:ext cx="1897412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D:\KVSNHL SASTRY\New folder\_MG_0806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54590" y="5325370"/>
            <a:ext cx="1892957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10800000" flipV="1">
            <a:off x="3332747" y="3116186"/>
            <a:ext cx="3228474" cy="1203158"/>
          </a:xfrm>
        </p:spPr>
        <p:txBody>
          <a:bodyPr/>
          <a:lstStyle/>
          <a:p>
            <a:pPr algn="ctr">
              <a:buNone/>
            </a:pPr>
            <a:endParaRPr lang="en-US" sz="1600" b="1" dirty="0" smtClean="0"/>
          </a:p>
          <a:p>
            <a:pPr algn="ctr">
              <a:buNone/>
            </a:pPr>
            <a:r>
              <a:rPr lang="en-US" sz="3600" b="1" dirty="0" smtClean="0"/>
              <a:t>Thank You</a:t>
            </a:r>
            <a:endParaRPr lang="en-US" sz="3600" b="1" dirty="0"/>
          </a:p>
        </p:txBody>
      </p:sp>
      <p:pic>
        <p:nvPicPr>
          <p:cNvPr id="4" name="Picture 4" descr="D:\KVSNHL SASTRY\New folder\_VAC7205_11-01-06_1544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6787" y="4126840"/>
            <a:ext cx="3632189" cy="24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D:\KVSNHL SASTRY\_MG_1964.t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19390" y="4126840"/>
            <a:ext cx="3298303" cy="24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D:\KVSNHL SASTRY\New folder\00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19391" y="1143771"/>
            <a:ext cx="3298302" cy="2195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D:\KVSNHL SASTRY\New folder\YE0N356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6787" y="927203"/>
            <a:ext cx="3632189" cy="24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37066" y="484074"/>
            <a:ext cx="314758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7847" y="532626"/>
            <a:ext cx="9505437" cy="5984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271548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388" y="595755"/>
            <a:ext cx="8329612" cy="357559"/>
          </a:xfrm>
        </p:spPr>
        <p:txBody>
          <a:bodyPr/>
          <a:lstStyle/>
          <a:p>
            <a:r>
              <a:rPr lang="en-US" sz="2000" dirty="0" smtClean="0"/>
              <a:t>GATED PROCESS: </a:t>
            </a:r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2013" y="1253108"/>
            <a:ext cx="8501975" cy="4098857"/>
          </a:xfrm>
        </p:spPr>
        <p:txBody>
          <a:bodyPr/>
          <a:lstStyle/>
          <a:p>
            <a:pPr algn="just">
              <a:lnSpc>
                <a:spcPct val="150000"/>
              </a:lnSpc>
              <a:buNone/>
            </a:pPr>
            <a:r>
              <a:rPr lang="en-US" sz="1800" dirty="0" smtClean="0">
                <a:latin typeface="+mn-lt"/>
              </a:rPr>
              <a:t>    Gated process is fundamental to the way Cairn brings major Capital developments to commercial operation.</a:t>
            </a:r>
          </a:p>
          <a:p>
            <a:pPr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en-US" sz="1800" dirty="0" smtClean="0">
                <a:latin typeface="+mn-lt"/>
              </a:rPr>
              <a:t>It is a process to establish Governance and Control check points to provide specific and consistent metrics so that all projects are judged objectively and rigorously.</a:t>
            </a:r>
          </a:p>
          <a:p>
            <a:pPr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en-US" sz="1800" dirty="0" smtClean="0">
                <a:latin typeface="+mn-lt"/>
              </a:rPr>
              <a:t>Gated process ensures that all aspects of the development in question align in terms of reservoir/ resource development, engineering maturity, approvals and other stake holder requirements are met with all key assurance activities and reviews identified and undertaken.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84263" y="5388623"/>
            <a:ext cx="1918177" cy="120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933" y="5388623"/>
            <a:ext cx="1918177" cy="120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95717" y="5388623"/>
            <a:ext cx="1918177" cy="120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 descr="D:\KVSNHL SASTRY\004_MPT_MG_034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70167" y="5388623"/>
            <a:ext cx="1809000" cy="120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D:\KVSNHL SASTRY\YE0N3566.T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41226" y="5388623"/>
            <a:ext cx="1932087" cy="120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60950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704428" y="1211886"/>
            <a:ext cx="8497144" cy="2761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76225" indent="-3175" algn="just">
              <a:lnSpc>
                <a:spcPct val="150000"/>
              </a:lnSpc>
              <a:buNone/>
            </a:pPr>
            <a:r>
              <a:rPr lang="en-US" sz="1800" dirty="0" smtClean="0">
                <a:latin typeface="+mn-lt"/>
              </a:rPr>
              <a:t>	From </a:t>
            </a:r>
            <a:r>
              <a:rPr lang="en-US" sz="1800" dirty="0">
                <a:latin typeface="+mn-lt"/>
              </a:rPr>
              <a:t>conceptualization to Decommissioning, the whole review process have been divided into Seven different Phases. Each phase is called “A Gate”. Specific </a:t>
            </a:r>
            <a:r>
              <a:rPr lang="en-US" sz="1800" dirty="0" smtClean="0">
                <a:latin typeface="+mn-lt"/>
              </a:rPr>
              <a:t>Check Lists </a:t>
            </a:r>
            <a:r>
              <a:rPr lang="en-US" sz="1800" dirty="0">
                <a:latin typeface="+mn-lt"/>
              </a:rPr>
              <a:t>are prepared with regard to each </a:t>
            </a:r>
            <a:r>
              <a:rPr lang="en-US" sz="1800" dirty="0" smtClean="0">
                <a:latin typeface="+mn-lt"/>
              </a:rPr>
              <a:t>GATE </a:t>
            </a:r>
            <a:r>
              <a:rPr lang="en-US" sz="1800" dirty="0">
                <a:latin typeface="+mn-lt"/>
              </a:rPr>
              <a:t>and audits are conducted at each stage. Audit observations, depending upon the severity category are needed to be closed appropriately prior to move on to next level of activities</a:t>
            </a:r>
            <a:r>
              <a:rPr lang="en-US" sz="1800" dirty="0" smtClean="0">
                <a:latin typeface="+mn-lt"/>
              </a:rPr>
              <a:t>.</a:t>
            </a:r>
            <a:endParaRPr lang="en-US" sz="1800" dirty="0">
              <a:latin typeface="+mn-lt"/>
            </a:endParaRPr>
          </a:p>
        </p:txBody>
      </p:sp>
      <p:pic>
        <p:nvPicPr>
          <p:cNvPr id="2" name="Picture 2" descr="D:\KVSNHL SASTRY\_MG_609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911" y="5274818"/>
            <a:ext cx="1908000" cy="127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 descr="D:\KVSNHL SASTRY\_MG_1964.t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26734" y="5274819"/>
            <a:ext cx="1908000" cy="1271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D:\KVSNHL SASTRY\New folder\YE0N140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94326" y="5274818"/>
            <a:ext cx="1908000" cy="1270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KVSNHL SASTRY\New folder\YE0N178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08502" y="5262894"/>
            <a:ext cx="1908000" cy="1281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:\KVSNHL SASTRY\New folder\YE0N220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50638" y="5274819"/>
            <a:ext cx="1908000" cy="127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06388" y="595755"/>
            <a:ext cx="8329612" cy="357559"/>
          </a:xfrm>
        </p:spPr>
        <p:txBody>
          <a:bodyPr/>
          <a:lstStyle/>
          <a:p>
            <a:r>
              <a:rPr lang="en-US" sz="2000" dirty="0" smtClean="0"/>
              <a:t>GATED PROCESS: 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extBox 65"/>
          <p:cNvSpPr txBox="1"/>
          <p:nvPr/>
        </p:nvSpPr>
        <p:spPr>
          <a:xfrm>
            <a:off x="133350" y="6288643"/>
            <a:ext cx="78295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 smtClean="0"/>
              <a:t>Note : PHSER (PROJECT HSEQ REVIEW) CYCLE</a:t>
            </a:r>
            <a:endParaRPr lang="en-US" sz="1000" b="1" dirty="0"/>
          </a:p>
        </p:txBody>
      </p:sp>
      <p:grpSp>
        <p:nvGrpSpPr>
          <p:cNvPr id="2" name="Group 1"/>
          <p:cNvGrpSpPr/>
          <p:nvPr/>
        </p:nvGrpSpPr>
        <p:grpSpPr>
          <a:xfrm>
            <a:off x="171450" y="736267"/>
            <a:ext cx="9382125" cy="5486399"/>
            <a:chOff x="171450" y="600075"/>
            <a:chExt cx="9382125" cy="5486399"/>
          </a:xfrm>
        </p:grpSpPr>
        <p:grpSp>
          <p:nvGrpSpPr>
            <p:cNvPr id="64" name="Group 63"/>
            <p:cNvGrpSpPr/>
            <p:nvPr/>
          </p:nvGrpSpPr>
          <p:grpSpPr>
            <a:xfrm>
              <a:off x="2632759" y="1451510"/>
              <a:ext cx="4619622" cy="4347091"/>
              <a:chOff x="3525663" y="1998664"/>
              <a:chExt cx="2851325" cy="2873374"/>
            </a:xfrm>
          </p:grpSpPr>
          <p:sp>
            <p:nvSpPr>
              <p:cNvPr id="57" name="Freeform 56"/>
              <p:cNvSpPr/>
              <p:nvPr/>
            </p:nvSpPr>
            <p:spPr>
              <a:xfrm>
                <a:off x="4312444" y="1998664"/>
                <a:ext cx="1207295" cy="1524000"/>
              </a:xfrm>
              <a:custGeom>
                <a:avLst/>
                <a:gdLst>
                  <a:gd name="connsiteX0" fmla="*/ 0 w 1195388"/>
                  <a:gd name="connsiteY0" fmla="*/ 314325 h 1524000"/>
                  <a:gd name="connsiteX1" fmla="*/ 623888 w 1195388"/>
                  <a:gd name="connsiteY1" fmla="*/ 0 h 1524000"/>
                  <a:gd name="connsiteX2" fmla="*/ 1195388 w 1195388"/>
                  <a:gd name="connsiteY2" fmla="*/ 271463 h 1524000"/>
                  <a:gd name="connsiteX3" fmla="*/ 628650 w 1195388"/>
                  <a:gd name="connsiteY3" fmla="*/ 1524000 h 1524000"/>
                  <a:gd name="connsiteX4" fmla="*/ 0 w 1195388"/>
                  <a:gd name="connsiteY4" fmla="*/ 314325 h 152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95388" h="1524000">
                    <a:moveTo>
                      <a:pt x="0" y="314325"/>
                    </a:moveTo>
                    <a:lnTo>
                      <a:pt x="623888" y="0"/>
                    </a:lnTo>
                    <a:lnTo>
                      <a:pt x="1195388" y="271463"/>
                    </a:lnTo>
                    <a:lnTo>
                      <a:pt x="628650" y="1524000"/>
                    </a:lnTo>
                    <a:lnTo>
                      <a:pt x="0" y="314325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100" dirty="0" smtClean="0">
                  <a:solidFill>
                    <a:srgbClr val="000080"/>
                  </a:solidFill>
                  <a:latin typeface="Arial Rounded MT Bold" pitchFamily="34" charset="0"/>
                </a:endParaRPr>
              </a:p>
              <a:p>
                <a:pPr algn="ctr"/>
                <a:endParaRPr lang="en-US" sz="1100" dirty="0" smtClean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PHSER -  I</a:t>
                </a:r>
              </a:p>
              <a:p>
                <a:pPr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Exploration </a:t>
                </a:r>
                <a:r>
                  <a:rPr lang="en-US" sz="1100" dirty="0">
                    <a:solidFill>
                      <a:srgbClr val="000099"/>
                    </a:solidFill>
                    <a:latin typeface="Arial Rounded MT Bold" pitchFamily="34" charset="0"/>
                  </a:rPr>
                  <a:t>&amp; </a:t>
                </a:r>
                <a:endParaRPr lang="en-US" sz="1100" dirty="0" smtClean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Appraisal</a:t>
                </a:r>
                <a:endParaRPr lang="en-US" sz="1100" dirty="0">
                  <a:solidFill>
                    <a:srgbClr val="000099"/>
                  </a:solidFill>
                  <a:latin typeface="Arial Rounded MT Bold" pitchFamily="34" charset="0"/>
                </a:endParaRPr>
              </a:p>
            </p:txBody>
          </p:sp>
          <p:sp>
            <p:nvSpPr>
              <p:cNvPr id="58" name="Freeform 57"/>
              <p:cNvSpPr/>
              <p:nvPr/>
            </p:nvSpPr>
            <p:spPr>
              <a:xfrm>
                <a:off x="4940052" y="2268593"/>
                <a:ext cx="1295401" cy="1252538"/>
              </a:xfrm>
              <a:custGeom>
                <a:avLst/>
                <a:gdLst>
                  <a:gd name="connsiteX0" fmla="*/ 585787 w 1295400"/>
                  <a:gd name="connsiteY0" fmla="*/ 0 h 1252538"/>
                  <a:gd name="connsiteX1" fmla="*/ 1147762 w 1295400"/>
                  <a:gd name="connsiteY1" fmla="*/ 285750 h 1252538"/>
                  <a:gd name="connsiteX2" fmla="*/ 1295400 w 1295400"/>
                  <a:gd name="connsiteY2" fmla="*/ 942975 h 1252538"/>
                  <a:gd name="connsiteX3" fmla="*/ 0 w 1295400"/>
                  <a:gd name="connsiteY3" fmla="*/ 1252538 h 1252538"/>
                  <a:gd name="connsiteX4" fmla="*/ 585787 w 1295400"/>
                  <a:gd name="connsiteY4" fmla="*/ 0 h 1252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5400" h="1252538">
                    <a:moveTo>
                      <a:pt x="585787" y="0"/>
                    </a:moveTo>
                    <a:lnTo>
                      <a:pt x="1147762" y="285750"/>
                    </a:lnTo>
                    <a:lnTo>
                      <a:pt x="1295400" y="942975"/>
                    </a:lnTo>
                    <a:lnTo>
                      <a:pt x="0" y="1252538"/>
                    </a:lnTo>
                    <a:lnTo>
                      <a:pt x="585787" y="0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    </a:t>
                </a:r>
              </a:p>
              <a:p>
                <a:pPr lvl="0" algn="ctr"/>
                <a:endParaRPr lang="en-US" sz="1100" dirty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lvl="0"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  PHSER – II        </a:t>
                </a:r>
              </a:p>
              <a:p>
                <a:pPr lvl="0" algn="l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             Development</a:t>
                </a:r>
              </a:p>
            </p:txBody>
          </p:sp>
          <p:sp>
            <p:nvSpPr>
              <p:cNvPr id="59" name="Freeform 58"/>
              <p:cNvSpPr/>
              <p:nvPr/>
            </p:nvSpPr>
            <p:spPr>
              <a:xfrm>
                <a:off x="4948238" y="3224213"/>
                <a:ext cx="1428750" cy="1114425"/>
              </a:xfrm>
              <a:custGeom>
                <a:avLst/>
                <a:gdLst>
                  <a:gd name="connsiteX0" fmla="*/ 1295400 w 1428750"/>
                  <a:gd name="connsiteY0" fmla="*/ 0 h 1114425"/>
                  <a:gd name="connsiteX1" fmla="*/ 1428750 w 1428750"/>
                  <a:gd name="connsiteY1" fmla="*/ 614362 h 1114425"/>
                  <a:gd name="connsiteX2" fmla="*/ 1047750 w 1428750"/>
                  <a:gd name="connsiteY2" fmla="*/ 1114425 h 1114425"/>
                  <a:gd name="connsiteX3" fmla="*/ 0 w 1428750"/>
                  <a:gd name="connsiteY3" fmla="*/ 304800 h 1114425"/>
                  <a:gd name="connsiteX4" fmla="*/ 1295400 w 1428750"/>
                  <a:gd name="connsiteY4" fmla="*/ 0 h 1114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750" h="1114425">
                    <a:moveTo>
                      <a:pt x="1295400" y="0"/>
                    </a:moveTo>
                    <a:lnTo>
                      <a:pt x="1428750" y="614362"/>
                    </a:lnTo>
                    <a:lnTo>
                      <a:pt x="1047750" y="1114425"/>
                    </a:lnTo>
                    <a:lnTo>
                      <a:pt x="0" y="304800"/>
                    </a:lnTo>
                    <a:lnTo>
                      <a:pt x="1295400" y="0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   </a:t>
                </a:r>
              </a:p>
              <a:p>
                <a:pPr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</a:t>
                </a:r>
              </a:p>
              <a:p>
                <a:pPr algn="ctr"/>
                <a:r>
                  <a:rPr lang="en-US" sz="1100" dirty="0">
                    <a:solidFill>
                      <a:srgbClr val="000099"/>
                    </a:solidFill>
                    <a:latin typeface="Arial Rounded MT Bold" pitchFamily="34" charset="0"/>
                  </a:rPr>
                  <a:t> </a:t>
                </a:r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      </a:t>
                </a:r>
              </a:p>
              <a:p>
                <a:pPr algn="ctr"/>
                <a:r>
                  <a:rPr lang="en-US" sz="1100" dirty="0">
                    <a:solidFill>
                      <a:srgbClr val="000099"/>
                    </a:solidFill>
                    <a:latin typeface="Arial Rounded MT Bold" pitchFamily="34" charset="0"/>
                  </a:rPr>
                  <a:t> </a:t>
                </a:r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        PHSER – III     </a:t>
                </a:r>
              </a:p>
              <a:p>
                <a:pPr algn="ctr"/>
                <a:r>
                  <a:rPr lang="en-US" sz="1100" dirty="0">
                    <a:solidFill>
                      <a:srgbClr val="000099"/>
                    </a:solidFill>
                    <a:latin typeface="Arial Rounded MT Bold" pitchFamily="34" charset="0"/>
                  </a:rPr>
                  <a:t> </a:t>
                </a:r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       Design</a:t>
                </a:r>
              </a:p>
              <a:p>
                <a:pPr lvl="0" algn="ctr"/>
                <a:endParaRPr lang="en-US" sz="1100" dirty="0">
                  <a:latin typeface="Arial Rounded MT Bold" pitchFamily="34" charset="0"/>
                </a:endParaRPr>
              </a:p>
            </p:txBody>
          </p:sp>
          <p:sp>
            <p:nvSpPr>
              <p:cNvPr id="60" name="Freeform 59"/>
              <p:cNvSpPr/>
              <p:nvPr/>
            </p:nvSpPr>
            <p:spPr>
              <a:xfrm>
                <a:off x="4948238" y="3538538"/>
                <a:ext cx="1042987" cy="1333500"/>
              </a:xfrm>
              <a:custGeom>
                <a:avLst/>
                <a:gdLst>
                  <a:gd name="connsiteX0" fmla="*/ 1042987 w 1042987"/>
                  <a:gd name="connsiteY0" fmla="*/ 819150 h 1333500"/>
                  <a:gd name="connsiteX1" fmla="*/ 638175 w 1042987"/>
                  <a:gd name="connsiteY1" fmla="*/ 1333500 h 1333500"/>
                  <a:gd name="connsiteX2" fmla="*/ 4762 w 1042987"/>
                  <a:gd name="connsiteY2" fmla="*/ 1333500 h 1333500"/>
                  <a:gd name="connsiteX3" fmla="*/ 0 w 1042987"/>
                  <a:gd name="connsiteY3" fmla="*/ 0 h 1333500"/>
                  <a:gd name="connsiteX4" fmla="*/ 1042987 w 1042987"/>
                  <a:gd name="connsiteY4" fmla="*/ 819150 h 1333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2987" h="1333500">
                    <a:moveTo>
                      <a:pt x="1042987" y="819150"/>
                    </a:moveTo>
                    <a:lnTo>
                      <a:pt x="638175" y="1333500"/>
                    </a:lnTo>
                    <a:lnTo>
                      <a:pt x="4762" y="1333500"/>
                    </a:lnTo>
                    <a:cubicBezTo>
                      <a:pt x="3175" y="889000"/>
                      <a:pt x="1587" y="444500"/>
                      <a:pt x="0" y="0"/>
                    </a:cubicBezTo>
                    <a:lnTo>
                      <a:pt x="1042987" y="819150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en-US" sz="1100" dirty="0" smtClean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lvl="0" algn="ctr"/>
                <a:endParaRPr lang="en-US" sz="1100" dirty="0" smtClean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lvl="0" algn="ctr"/>
                <a:endParaRPr lang="en-US" sz="1100" dirty="0" smtClean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lvl="0" algn="l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PHSER – IV</a:t>
                </a:r>
              </a:p>
              <a:p>
                <a:pPr lvl="0" algn="l"/>
                <a:r>
                  <a:rPr lang="en-US" sz="1100" dirty="0">
                    <a:solidFill>
                      <a:srgbClr val="000099"/>
                    </a:solidFill>
                    <a:latin typeface="Arial Rounded MT Bold" pitchFamily="34" charset="0"/>
                  </a:rPr>
                  <a:t> </a:t>
                </a:r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Construction</a:t>
                </a:r>
                <a:endParaRPr lang="en-US" sz="1100" dirty="0">
                  <a:solidFill>
                    <a:srgbClr val="000099"/>
                  </a:solidFill>
                  <a:latin typeface="Arial Rounded MT Bold" pitchFamily="34" charset="0"/>
                </a:endParaRPr>
              </a:p>
            </p:txBody>
          </p:sp>
          <p:sp>
            <p:nvSpPr>
              <p:cNvPr id="61" name="Freeform 60"/>
              <p:cNvSpPr/>
              <p:nvPr/>
            </p:nvSpPr>
            <p:spPr>
              <a:xfrm>
                <a:off x="3925244" y="3527680"/>
                <a:ext cx="1009650" cy="1343025"/>
              </a:xfrm>
              <a:custGeom>
                <a:avLst/>
                <a:gdLst>
                  <a:gd name="connsiteX0" fmla="*/ 1009650 w 1009650"/>
                  <a:gd name="connsiteY0" fmla="*/ 1343025 h 1343025"/>
                  <a:gd name="connsiteX1" fmla="*/ 376237 w 1009650"/>
                  <a:gd name="connsiteY1" fmla="*/ 1333500 h 1343025"/>
                  <a:gd name="connsiteX2" fmla="*/ 0 w 1009650"/>
                  <a:gd name="connsiteY2" fmla="*/ 842962 h 1343025"/>
                  <a:gd name="connsiteX3" fmla="*/ 1000125 w 1009650"/>
                  <a:gd name="connsiteY3" fmla="*/ 0 h 1343025"/>
                  <a:gd name="connsiteX4" fmla="*/ 1009650 w 1009650"/>
                  <a:gd name="connsiteY4" fmla="*/ 1343025 h 1343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9650" h="1343025">
                    <a:moveTo>
                      <a:pt x="1009650" y="1343025"/>
                    </a:moveTo>
                    <a:lnTo>
                      <a:pt x="376237" y="1333500"/>
                    </a:lnTo>
                    <a:lnTo>
                      <a:pt x="0" y="842962"/>
                    </a:lnTo>
                    <a:lnTo>
                      <a:pt x="1000125" y="0"/>
                    </a:lnTo>
                    <a:lnTo>
                      <a:pt x="1009650" y="1343025"/>
                    </a:ln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</a:schemeClr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 anchorCtr="0"/>
              <a:lstStyle/>
              <a:p>
                <a:pPr lvl="0"/>
                <a:endParaRPr lang="en-US" sz="1100" dirty="0" smtClean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lvl="0"/>
                <a:endParaRPr lang="en-US" sz="1100" dirty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lvl="0"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</a:t>
                </a:r>
              </a:p>
              <a:p>
                <a:pPr lvl="0"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    PHSER – V</a:t>
                </a:r>
              </a:p>
              <a:p>
                <a:pPr lvl="0" algn="ctr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Pre- Commissioning</a:t>
                </a:r>
                <a:endParaRPr lang="en-US" sz="1100" dirty="0">
                  <a:solidFill>
                    <a:srgbClr val="000099"/>
                  </a:solidFill>
                  <a:latin typeface="Arial Rounded MT Bold" pitchFamily="34" charset="0"/>
                </a:endParaRPr>
              </a:p>
            </p:txBody>
          </p:sp>
          <p:sp>
            <p:nvSpPr>
              <p:cNvPr id="62" name="Freeform 61"/>
              <p:cNvSpPr/>
              <p:nvPr/>
            </p:nvSpPr>
            <p:spPr>
              <a:xfrm>
                <a:off x="3525663" y="3209131"/>
                <a:ext cx="1419225" cy="1138237"/>
              </a:xfrm>
              <a:custGeom>
                <a:avLst/>
                <a:gdLst>
                  <a:gd name="connsiteX0" fmla="*/ 404812 w 1419225"/>
                  <a:gd name="connsiteY0" fmla="*/ 1171575 h 1171575"/>
                  <a:gd name="connsiteX1" fmla="*/ 0 w 1419225"/>
                  <a:gd name="connsiteY1" fmla="*/ 642938 h 1171575"/>
                  <a:gd name="connsiteX2" fmla="*/ 142875 w 1419225"/>
                  <a:gd name="connsiteY2" fmla="*/ 0 h 1171575"/>
                  <a:gd name="connsiteX3" fmla="*/ 1419225 w 1419225"/>
                  <a:gd name="connsiteY3" fmla="*/ 319088 h 1171575"/>
                  <a:gd name="connsiteX4" fmla="*/ 404812 w 1419225"/>
                  <a:gd name="connsiteY4" fmla="*/ 1171575 h 1171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9225" h="1171575">
                    <a:moveTo>
                      <a:pt x="404812" y="1171575"/>
                    </a:moveTo>
                    <a:lnTo>
                      <a:pt x="0" y="642938"/>
                    </a:lnTo>
                    <a:lnTo>
                      <a:pt x="142875" y="0"/>
                    </a:lnTo>
                    <a:lnTo>
                      <a:pt x="1419225" y="319088"/>
                    </a:lnTo>
                    <a:lnTo>
                      <a:pt x="404812" y="1171575"/>
                    </a:ln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pPr algn="ctr"/>
                <a:r>
                  <a:rPr lang="en-US" sz="1100" dirty="0">
                    <a:solidFill>
                      <a:schemeClr val="tx1"/>
                    </a:solidFill>
                    <a:latin typeface="Arial Rounded MT Bold" pitchFamily="34" charset="0"/>
                  </a:rPr>
                  <a:t>PHSER – </a:t>
                </a:r>
                <a:r>
                  <a:rPr lang="en-US" sz="1100" dirty="0" smtClean="0">
                    <a:solidFill>
                      <a:schemeClr val="tx1"/>
                    </a:solidFill>
                    <a:latin typeface="Arial Rounded MT Bold" pitchFamily="34" charset="0"/>
                  </a:rPr>
                  <a:t>VI</a:t>
                </a:r>
                <a:endParaRPr lang="en-US" sz="1100" dirty="0">
                  <a:solidFill>
                    <a:schemeClr val="tx1"/>
                  </a:solidFill>
                  <a:latin typeface="Arial Rounded MT Bold" pitchFamily="34" charset="0"/>
                </a:endParaRPr>
              </a:p>
              <a:p>
                <a:pPr algn="ctr"/>
                <a:r>
                  <a:rPr lang="en-US" sz="1100" dirty="0" smtClean="0">
                    <a:solidFill>
                      <a:schemeClr val="tx1"/>
                    </a:solidFill>
                    <a:latin typeface="Arial Rounded MT Bold" pitchFamily="34" charset="0"/>
                  </a:rPr>
                  <a:t>Start-up</a:t>
                </a:r>
                <a:endParaRPr lang="en-US" sz="1100" dirty="0">
                  <a:solidFill>
                    <a:schemeClr val="tx1"/>
                  </a:solidFill>
                  <a:latin typeface="Arial Rounded MT Bold" pitchFamily="34" charset="0"/>
                </a:endParaRPr>
              </a:p>
            </p:txBody>
          </p:sp>
          <p:sp>
            <p:nvSpPr>
              <p:cNvPr id="63" name="Freeform 62"/>
              <p:cNvSpPr/>
              <p:nvPr/>
            </p:nvSpPr>
            <p:spPr>
              <a:xfrm>
                <a:off x="3677921" y="2305102"/>
                <a:ext cx="1261088" cy="1233436"/>
              </a:xfrm>
              <a:custGeom>
                <a:avLst/>
                <a:gdLst>
                  <a:gd name="connsiteX0" fmla="*/ 0 w 1276350"/>
                  <a:gd name="connsiteY0" fmla="*/ 881062 h 1214437"/>
                  <a:gd name="connsiteX1" fmla="*/ 138113 w 1276350"/>
                  <a:gd name="connsiteY1" fmla="*/ 252412 h 1214437"/>
                  <a:gd name="connsiteX2" fmla="*/ 638175 w 1276350"/>
                  <a:gd name="connsiteY2" fmla="*/ 0 h 1214437"/>
                  <a:gd name="connsiteX3" fmla="*/ 1276350 w 1276350"/>
                  <a:gd name="connsiteY3" fmla="*/ 1214437 h 1214437"/>
                  <a:gd name="connsiteX4" fmla="*/ 0 w 1276350"/>
                  <a:gd name="connsiteY4" fmla="*/ 881062 h 1214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6350" h="1214437">
                    <a:moveTo>
                      <a:pt x="0" y="881062"/>
                    </a:moveTo>
                    <a:lnTo>
                      <a:pt x="138113" y="252412"/>
                    </a:lnTo>
                    <a:lnTo>
                      <a:pt x="638175" y="0"/>
                    </a:lnTo>
                    <a:lnTo>
                      <a:pt x="1276350" y="1214437"/>
                    </a:lnTo>
                    <a:lnTo>
                      <a:pt x="0" y="881062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endParaRPr lang="en-US" sz="1100" dirty="0" smtClean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algn="l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   PHSER - VII</a:t>
                </a:r>
                <a:endParaRPr lang="en-US" sz="1100" dirty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algn="l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   Abandonment / </a:t>
                </a:r>
              </a:p>
              <a:p>
                <a:pPr algn="l"/>
                <a:r>
                  <a:rPr lang="en-US" sz="1100" dirty="0" smtClean="0">
                    <a:solidFill>
                      <a:srgbClr val="000099"/>
                    </a:solidFill>
                    <a:latin typeface="Arial Rounded MT Bold" pitchFamily="34" charset="0"/>
                  </a:rPr>
                  <a:t> De-Commissioning</a:t>
                </a:r>
                <a:endParaRPr lang="en-US" sz="1100" dirty="0">
                  <a:solidFill>
                    <a:srgbClr val="000099"/>
                  </a:solidFill>
                  <a:latin typeface="Arial Rounded MT Bold" pitchFamily="34" charset="0"/>
                </a:endParaRPr>
              </a:p>
              <a:p>
                <a:pPr algn="ctr"/>
                <a:endParaRPr lang="en-US" sz="1100" dirty="0">
                  <a:latin typeface="Arial Rounded MT Bold" pitchFamily="34" charset="0"/>
                </a:endParaRPr>
              </a:p>
            </p:txBody>
          </p:sp>
        </p:grpSp>
        <p:cxnSp>
          <p:nvCxnSpPr>
            <p:cNvPr id="75" name="Straight Arrow Connector 74"/>
            <p:cNvCxnSpPr/>
            <p:nvPr/>
          </p:nvCxnSpPr>
          <p:spPr>
            <a:xfrm flipH="1" flipV="1">
              <a:off x="4943475" y="1104900"/>
              <a:ext cx="3921" cy="346610"/>
            </a:xfrm>
            <a:prstGeom prst="straightConnector1">
              <a:avLst/>
            </a:prstGeom>
            <a:ln w="19050">
              <a:solidFill>
                <a:srgbClr val="000099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7004820" y="1451510"/>
              <a:ext cx="2272530" cy="50482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Engineering</a:t>
              </a:r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, Quality, HSE, </a:t>
              </a:r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Projects, Legal </a:t>
              </a:r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Assurance</a:t>
              </a:r>
            </a:p>
          </p:txBody>
        </p:sp>
        <p:cxnSp>
          <p:nvCxnSpPr>
            <p:cNvPr id="80" name="Straight Arrow Connector 79"/>
            <p:cNvCxnSpPr>
              <a:stCxn id="58" idx="1"/>
            </p:cNvCxnSpPr>
            <p:nvPr/>
          </p:nvCxnSpPr>
          <p:spPr>
            <a:xfrm flipV="1">
              <a:off x="6783873" y="1956335"/>
              <a:ext cx="220947" cy="335855"/>
            </a:xfrm>
            <a:prstGeom prst="straightConnector1">
              <a:avLst/>
            </a:prstGeom>
            <a:ln w="19050">
              <a:solidFill>
                <a:srgbClr val="000099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Rectangle 82"/>
            <p:cNvSpPr/>
            <p:nvPr/>
          </p:nvSpPr>
          <p:spPr>
            <a:xfrm>
              <a:off x="7749553" y="3769731"/>
              <a:ext cx="1804022" cy="47553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Engineering</a:t>
              </a:r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, Quality, HSE, </a:t>
              </a:r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Projects</a:t>
              </a:r>
            </a:p>
          </p:txBody>
        </p:sp>
        <p:cxnSp>
          <p:nvCxnSpPr>
            <p:cNvPr id="84" name="Straight Arrow Connector 83"/>
            <p:cNvCxnSpPr>
              <a:endCxn id="83" idx="1"/>
            </p:cNvCxnSpPr>
            <p:nvPr/>
          </p:nvCxnSpPr>
          <p:spPr>
            <a:xfrm flipV="1">
              <a:off x="7252381" y="4007500"/>
              <a:ext cx="497172" cy="237770"/>
            </a:xfrm>
            <a:prstGeom prst="straightConnector1">
              <a:avLst/>
            </a:prstGeom>
            <a:ln w="19050">
              <a:solidFill>
                <a:srgbClr val="000099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Rectangle 87"/>
            <p:cNvSpPr/>
            <p:nvPr/>
          </p:nvSpPr>
          <p:spPr>
            <a:xfrm>
              <a:off x="6598956" y="5568589"/>
              <a:ext cx="1804022" cy="47553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Engineering</a:t>
              </a:r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, Quality, HSE, </a:t>
              </a:r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Projects</a:t>
              </a:r>
            </a:p>
          </p:txBody>
        </p:sp>
        <p:cxnSp>
          <p:nvCxnSpPr>
            <p:cNvPr id="89" name="Straight Arrow Connector 88"/>
            <p:cNvCxnSpPr>
              <a:stCxn id="60" idx="1"/>
              <a:endCxn id="88" idx="1"/>
            </p:cNvCxnSpPr>
            <p:nvPr/>
          </p:nvCxnSpPr>
          <p:spPr>
            <a:xfrm>
              <a:off x="5971518" y="5798601"/>
              <a:ext cx="627438" cy="7757"/>
            </a:xfrm>
            <a:prstGeom prst="straightConnector1">
              <a:avLst/>
            </a:prstGeom>
            <a:ln w="19050">
              <a:solidFill>
                <a:srgbClr val="000099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Rectangle 90"/>
            <p:cNvSpPr/>
            <p:nvPr/>
          </p:nvSpPr>
          <p:spPr>
            <a:xfrm>
              <a:off x="1418975" y="5484631"/>
              <a:ext cx="1804022" cy="601843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Engineering</a:t>
              </a:r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, Quality, HSE, </a:t>
              </a:r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Projects, Operation</a:t>
              </a:r>
            </a:p>
          </p:txBody>
        </p:sp>
        <p:cxnSp>
          <p:nvCxnSpPr>
            <p:cNvPr id="92" name="Straight Arrow Connector 91"/>
            <p:cNvCxnSpPr>
              <a:stCxn id="61" idx="1"/>
              <a:endCxn id="91" idx="3"/>
            </p:cNvCxnSpPr>
            <p:nvPr/>
          </p:nvCxnSpPr>
          <p:spPr>
            <a:xfrm flipH="1">
              <a:off x="3222997" y="5782174"/>
              <a:ext cx="666717" cy="3379"/>
            </a:xfrm>
            <a:prstGeom prst="straightConnector1">
              <a:avLst/>
            </a:prstGeom>
            <a:ln w="19050">
              <a:solidFill>
                <a:srgbClr val="000099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Rectangle 100"/>
            <p:cNvSpPr/>
            <p:nvPr/>
          </p:nvSpPr>
          <p:spPr>
            <a:xfrm>
              <a:off x="171450" y="3986681"/>
              <a:ext cx="2019300" cy="594843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Engineering, </a:t>
              </a:r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Quality, HSE, </a:t>
              </a:r>
              <a:endParaRPr lang="en-US" sz="1100" dirty="0" smtClean="0">
                <a:solidFill>
                  <a:srgbClr val="000099"/>
                </a:solidFill>
                <a:latin typeface="Arial Rounded MT Bold" pitchFamily="34" charset="0"/>
              </a:endParaRPr>
            </a:p>
            <a:p>
              <a:pPr algn="ctr"/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Projects, Operation, </a:t>
              </a:r>
            </a:p>
            <a:p>
              <a:pPr algn="ctr"/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Asset </a:t>
              </a:r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Integrity</a:t>
              </a:r>
            </a:p>
          </p:txBody>
        </p:sp>
        <p:cxnSp>
          <p:nvCxnSpPr>
            <p:cNvPr id="102" name="Straight Arrow Connector 101"/>
            <p:cNvCxnSpPr>
              <a:stCxn id="62" idx="1"/>
            </p:cNvCxnSpPr>
            <p:nvPr/>
          </p:nvCxnSpPr>
          <p:spPr>
            <a:xfrm flipH="1" flipV="1">
              <a:off x="2190750" y="4224451"/>
              <a:ext cx="442009" cy="3373"/>
            </a:xfrm>
            <a:prstGeom prst="straightConnector1">
              <a:avLst/>
            </a:prstGeom>
            <a:ln w="19050">
              <a:solidFill>
                <a:srgbClr val="000099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Rectangle 105"/>
            <p:cNvSpPr/>
            <p:nvPr/>
          </p:nvSpPr>
          <p:spPr>
            <a:xfrm>
              <a:off x="3816735" y="600075"/>
              <a:ext cx="2272530" cy="50482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G&amp;G, </a:t>
              </a:r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Petroleum Engineering, </a:t>
              </a:r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HSE, Quality, Legal Assurance</a:t>
              </a:r>
            </a:p>
          </p:txBody>
        </p:sp>
        <p:cxnSp>
          <p:nvCxnSpPr>
            <p:cNvPr id="107" name="Straight Arrow Connector 106"/>
            <p:cNvCxnSpPr>
              <a:stCxn id="63" idx="1"/>
            </p:cNvCxnSpPr>
            <p:nvPr/>
          </p:nvCxnSpPr>
          <p:spPr>
            <a:xfrm flipH="1" flipV="1">
              <a:off x="2762251" y="1956335"/>
              <a:ext cx="338281" cy="346626"/>
            </a:xfrm>
            <a:prstGeom prst="straightConnector1">
              <a:avLst/>
            </a:prstGeom>
            <a:ln w="19050">
              <a:solidFill>
                <a:srgbClr val="000099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Rectangle 109"/>
            <p:cNvSpPr/>
            <p:nvPr/>
          </p:nvSpPr>
          <p:spPr>
            <a:xfrm>
              <a:off x="489721" y="1433642"/>
              <a:ext cx="2272530" cy="50482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G&amp;G, </a:t>
              </a:r>
              <a:r>
                <a:rPr lang="en-US" sz="1100" dirty="0" smtClean="0">
                  <a:solidFill>
                    <a:srgbClr val="000099"/>
                  </a:solidFill>
                  <a:latin typeface="Arial Rounded MT Bold" pitchFamily="34" charset="0"/>
                </a:rPr>
                <a:t>Petroleum Engineering, </a:t>
              </a:r>
              <a:r>
                <a:rPr lang="en-US" sz="1100" dirty="0">
                  <a:solidFill>
                    <a:srgbClr val="000099"/>
                  </a:solidFill>
                  <a:latin typeface="Arial Rounded MT Bold" pitchFamily="34" charset="0"/>
                </a:rPr>
                <a:t>HSE, Quality, Legal Assurance</a:t>
              </a:r>
            </a:p>
          </p:txBody>
        </p:sp>
      </p:grp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306388" y="517931"/>
            <a:ext cx="8329612" cy="357559"/>
          </a:xfrm>
        </p:spPr>
        <p:txBody>
          <a:bodyPr/>
          <a:lstStyle/>
          <a:p>
            <a:r>
              <a:rPr lang="en-US" sz="2000" dirty="0" smtClean="0"/>
              <a:t>GATED PROCESS: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81733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3" name="Straight Arrow Connector 122"/>
          <p:cNvCxnSpPr>
            <a:stCxn id="110" idx="0"/>
            <a:endCxn id="118" idx="2"/>
          </p:cNvCxnSpPr>
          <p:nvPr/>
        </p:nvCxnSpPr>
        <p:spPr>
          <a:xfrm flipV="1">
            <a:off x="7151824" y="1417522"/>
            <a:ext cx="1296712" cy="562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158152" y="1118188"/>
            <a:ext cx="9144469" cy="5370034"/>
            <a:chOff x="158152" y="943084"/>
            <a:chExt cx="9144469" cy="5370034"/>
          </a:xfrm>
        </p:grpSpPr>
        <p:sp>
          <p:nvSpPr>
            <p:cNvPr id="6" name="Rectangle 5"/>
            <p:cNvSpPr/>
            <p:nvPr/>
          </p:nvSpPr>
          <p:spPr>
            <a:xfrm>
              <a:off x="267578" y="1757691"/>
              <a:ext cx="791504" cy="540000"/>
            </a:xfrm>
            <a:custGeom>
              <a:avLst/>
              <a:gdLst>
                <a:gd name="connsiteX0" fmla="*/ 0 w 1343025"/>
                <a:gd name="connsiteY0" fmla="*/ 0 h 476250"/>
                <a:gd name="connsiteX1" fmla="*/ 1343025 w 1343025"/>
                <a:gd name="connsiteY1" fmla="*/ 0 h 476250"/>
                <a:gd name="connsiteX2" fmla="*/ 1343025 w 1343025"/>
                <a:gd name="connsiteY2" fmla="*/ 476250 h 476250"/>
                <a:gd name="connsiteX3" fmla="*/ 0 w 1343025"/>
                <a:gd name="connsiteY3" fmla="*/ 476250 h 476250"/>
                <a:gd name="connsiteX4" fmla="*/ 0 w 1343025"/>
                <a:gd name="connsiteY4" fmla="*/ 0 h 476250"/>
                <a:gd name="connsiteX0" fmla="*/ 0 w 1485900"/>
                <a:gd name="connsiteY0" fmla="*/ 0 h 476250"/>
                <a:gd name="connsiteX1" fmla="*/ 1343025 w 1485900"/>
                <a:gd name="connsiteY1" fmla="*/ 0 h 476250"/>
                <a:gd name="connsiteX2" fmla="*/ 1485900 w 1485900"/>
                <a:gd name="connsiteY2" fmla="*/ 476250 h 476250"/>
                <a:gd name="connsiteX3" fmla="*/ 0 w 1485900"/>
                <a:gd name="connsiteY3" fmla="*/ 476250 h 476250"/>
                <a:gd name="connsiteX4" fmla="*/ 0 w 1485900"/>
                <a:gd name="connsiteY4" fmla="*/ 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5900" h="476250">
                  <a:moveTo>
                    <a:pt x="0" y="0"/>
                  </a:moveTo>
                  <a:lnTo>
                    <a:pt x="1343025" y="0"/>
                  </a:lnTo>
                  <a:lnTo>
                    <a:pt x="1485900" y="476250"/>
                  </a:lnTo>
                  <a:lnTo>
                    <a:pt x="0" y="476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rgbClr val="000099"/>
                  </a:solidFill>
                  <a:latin typeface="Arial Rounded MT Bold" pitchFamily="34" charset="0"/>
                </a:rPr>
                <a:t>Explore</a:t>
              </a:r>
              <a:endParaRPr lang="en-US" sz="1200" dirty="0">
                <a:solidFill>
                  <a:srgbClr val="000099"/>
                </a:solidFill>
                <a:latin typeface="Arial Rounded MT Bold" pitchFamily="34" charset="0"/>
              </a:endParaRPr>
            </a:p>
          </p:txBody>
        </p:sp>
        <p:sp>
          <p:nvSpPr>
            <p:cNvPr id="7" name="Flowchart: Manual Operation 6"/>
            <p:cNvSpPr/>
            <p:nvPr/>
          </p:nvSpPr>
          <p:spPr>
            <a:xfrm>
              <a:off x="921922" y="1757691"/>
              <a:ext cx="647700" cy="540000"/>
            </a:xfrm>
            <a:prstGeom prst="flowChartManualOperation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000099"/>
                  </a:solidFill>
                </a:rPr>
                <a:t>1</a:t>
              </a:r>
              <a:endParaRPr lang="en-US" dirty="0">
                <a:solidFill>
                  <a:srgbClr val="000099"/>
                </a:solidFill>
              </a:endParaRPr>
            </a:p>
          </p:txBody>
        </p:sp>
        <p:sp>
          <p:nvSpPr>
            <p:cNvPr id="12" name="Trapezoid 11"/>
            <p:cNvSpPr/>
            <p:nvPr/>
          </p:nvSpPr>
          <p:spPr>
            <a:xfrm>
              <a:off x="1440082" y="1757691"/>
              <a:ext cx="1080000" cy="540000"/>
            </a:xfrm>
            <a:prstGeom prst="trapezoid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rgbClr val="000099"/>
                  </a:solidFill>
                  <a:latin typeface="Arial Rounded MT Bold" pitchFamily="34" charset="0"/>
                </a:rPr>
                <a:t>Appraise</a:t>
              </a:r>
              <a:endParaRPr lang="en-US" sz="1200" dirty="0">
                <a:solidFill>
                  <a:srgbClr val="000099"/>
                </a:solidFill>
                <a:latin typeface="Arial Rounded MT Bold" pitchFamily="34" charset="0"/>
              </a:endParaRPr>
            </a:p>
          </p:txBody>
        </p:sp>
        <p:sp>
          <p:nvSpPr>
            <p:cNvPr id="13" name="Flowchart: Manual Operation 12"/>
            <p:cNvSpPr/>
            <p:nvPr/>
          </p:nvSpPr>
          <p:spPr>
            <a:xfrm>
              <a:off x="2398422" y="1757691"/>
              <a:ext cx="647700" cy="540000"/>
            </a:xfrm>
            <a:prstGeom prst="flowChartManualOperation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000099"/>
                  </a:solidFill>
                </a:rPr>
                <a:t>2</a:t>
              </a:r>
              <a:endParaRPr lang="en-US" dirty="0">
                <a:solidFill>
                  <a:srgbClr val="000099"/>
                </a:solidFill>
              </a:endParaRPr>
            </a:p>
          </p:txBody>
        </p:sp>
        <p:sp>
          <p:nvSpPr>
            <p:cNvPr id="14" name="Trapezoid 13"/>
            <p:cNvSpPr/>
            <p:nvPr/>
          </p:nvSpPr>
          <p:spPr>
            <a:xfrm>
              <a:off x="2918690" y="1757691"/>
              <a:ext cx="1116000" cy="540000"/>
            </a:xfrm>
            <a:prstGeom prst="trapezoid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rgbClr val="000099"/>
                  </a:solidFill>
                  <a:latin typeface="Arial Rounded MT Bold" pitchFamily="34" charset="0"/>
                </a:rPr>
                <a:t>Assess / Select</a:t>
              </a:r>
              <a:endParaRPr lang="en-US" sz="1200" dirty="0">
                <a:solidFill>
                  <a:srgbClr val="000099"/>
                </a:solidFill>
                <a:latin typeface="Arial Rounded MT Bold" pitchFamily="34" charset="0"/>
              </a:endParaRPr>
            </a:p>
          </p:txBody>
        </p:sp>
        <p:sp>
          <p:nvSpPr>
            <p:cNvPr id="15" name="Flowchart: Manual Operation 14"/>
            <p:cNvSpPr/>
            <p:nvPr/>
          </p:nvSpPr>
          <p:spPr>
            <a:xfrm>
              <a:off x="3880746" y="1757691"/>
              <a:ext cx="647700" cy="540000"/>
            </a:xfrm>
            <a:prstGeom prst="flowChartManualOperation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000099"/>
                  </a:solidFill>
                </a:rPr>
                <a:t>3</a:t>
              </a:r>
              <a:endParaRPr lang="en-US" dirty="0">
                <a:solidFill>
                  <a:srgbClr val="000099"/>
                </a:solidFill>
              </a:endParaRPr>
            </a:p>
          </p:txBody>
        </p:sp>
        <p:sp>
          <p:nvSpPr>
            <p:cNvPr id="16" name="Trapezoid 15"/>
            <p:cNvSpPr/>
            <p:nvPr/>
          </p:nvSpPr>
          <p:spPr>
            <a:xfrm>
              <a:off x="4398906" y="1757691"/>
              <a:ext cx="1152000" cy="540000"/>
            </a:xfrm>
            <a:prstGeom prst="trapezoid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rgbClr val="000099"/>
                  </a:solidFill>
                  <a:latin typeface="Arial Rounded MT Bold" pitchFamily="34" charset="0"/>
                </a:rPr>
                <a:t>Define</a:t>
              </a:r>
              <a:endParaRPr lang="en-US" sz="1200" dirty="0">
                <a:solidFill>
                  <a:srgbClr val="000099"/>
                </a:solidFill>
                <a:latin typeface="Arial Rounded MT Bold" pitchFamily="34" charset="0"/>
              </a:endParaRPr>
            </a:p>
          </p:txBody>
        </p:sp>
        <p:sp>
          <p:nvSpPr>
            <p:cNvPr id="17" name="Flowchart: Manual Operation 16"/>
            <p:cNvSpPr/>
            <p:nvPr/>
          </p:nvSpPr>
          <p:spPr>
            <a:xfrm>
              <a:off x="5259966" y="1757691"/>
              <a:ext cx="647700" cy="540000"/>
            </a:xfrm>
            <a:prstGeom prst="flowChartManualOperation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000099"/>
                  </a:solidFill>
                </a:rPr>
                <a:t>4</a:t>
              </a:r>
              <a:endParaRPr lang="en-US" dirty="0">
                <a:solidFill>
                  <a:srgbClr val="000099"/>
                </a:solidFill>
              </a:endParaRPr>
            </a:p>
          </p:txBody>
        </p:sp>
        <p:sp>
          <p:nvSpPr>
            <p:cNvPr id="18" name="Trapezoid 17"/>
            <p:cNvSpPr/>
            <p:nvPr/>
          </p:nvSpPr>
          <p:spPr>
            <a:xfrm>
              <a:off x="5770506" y="1757691"/>
              <a:ext cx="1116000" cy="540000"/>
            </a:xfrm>
            <a:prstGeom prst="trapezoid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rgbClr val="000099"/>
                  </a:solidFill>
                  <a:latin typeface="Arial Rounded MT Bold" pitchFamily="34" charset="0"/>
                </a:rPr>
                <a:t>Execute</a:t>
              </a:r>
              <a:endParaRPr lang="en-US" sz="1200" dirty="0">
                <a:solidFill>
                  <a:srgbClr val="000099"/>
                </a:solidFill>
                <a:latin typeface="Arial Rounded MT Bold" pitchFamily="34" charset="0"/>
              </a:endParaRPr>
            </a:p>
          </p:txBody>
        </p:sp>
        <p:sp>
          <p:nvSpPr>
            <p:cNvPr id="19" name="Flowchart: Manual Operation 18"/>
            <p:cNvSpPr/>
            <p:nvPr/>
          </p:nvSpPr>
          <p:spPr>
            <a:xfrm>
              <a:off x="6725845" y="1757691"/>
              <a:ext cx="588818" cy="540000"/>
            </a:xfrm>
            <a:prstGeom prst="flowChartManualOperation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000099"/>
                  </a:solidFill>
                </a:rPr>
                <a:t>5</a:t>
              </a:r>
              <a:endParaRPr lang="en-US" dirty="0">
                <a:solidFill>
                  <a:srgbClr val="000099"/>
                </a:solidFill>
              </a:endParaRPr>
            </a:p>
          </p:txBody>
        </p:sp>
        <p:sp>
          <p:nvSpPr>
            <p:cNvPr id="20" name="Trapezoid 19"/>
            <p:cNvSpPr/>
            <p:nvPr/>
          </p:nvSpPr>
          <p:spPr>
            <a:xfrm>
              <a:off x="7200847" y="1757691"/>
              <a:ext cx="1440000" cy="540000"/>
            </a:xfrm>
            <a:prstGeom prst="trapezoid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rgbClr val="000099"/>
                  </a:solidFill>
                  <a:latin typeface="Arial Rounded MT Bold" pitchFamily="34" charset="0"/>
                </a:rPr>
                <a:t>Operate</a:t>
              </a:r>
              <a:endParaRPr lang="en-US" sz="1200" dirty="0">
                <a:solidFill>
                  <a:srgbClr val="000099"/>
                </a:solidFill>
                <a:latin typeface="Arial Rounded MT Bold" pitchFamily="34" charset="0"/>
              </a:endParaRPr>
            </a:p>
          </p:txBody>
        </p:sp>
        <p:sp>
          <p:nvSpPr>
            <p:cNvPr id="21" name="Documents"/>
            <p:cNvSpPr>
              <a:spLocks noEditPoints="1" noChangeArrowheads="1"/>
            </p:cNvSpPr>
            <p:nvPr/>
          </p:nvSpPr>
          <p:spPr bwMode="auto">
            <a:xfrm>
              <a:off x="158152" y="3068731"/>
              <a:ext cx="900930" cy="1302707"/>
            </a:xfrm>
            <a:custGeom>
              <a:avLst/>
              <a:gdLst>
                <a:gd name="T0" fmla="*/ 0 w 21600"/>
                <a:gd name="T1" fmla="*/ 2800 h 21600"/>
                <a:gd name="T2" fmla="*/ 3468 w 21600"/>
                <a:gd name="T3" fmla="*/ 0 h 21600"/>
                <a:gd name="T4" fmla="*/ 21653 w 21600"/>
                <a:gd name="T5" fmla="*/ 18828 h 21600"/>
                <a:gd name="T6" fmla="*/ 19954 w 21600"/>
                <a:gd name="T7" fmla="*/ 20214 h 21600"/>
                <a:gd name="T8" fmla="*/ 18256 w 21600"/>
                <a:gd name="T9" fmla="*/ 21628 h 21600"/>
                <a:gd name="T10" fmla="*/ 19954 w 21600"/>
                <a:gd name="T11" fmla="*/ 1428 h 21600"/>
                <a:gd name="T12" fmla="*/ 18256 w 21600"/>
                <a:gd name="T13" fmla="*/ 2800 h 21600"/>
                <a:gd name="T14" fmla="*/ 1645 w 21600"/>
                <a:gd name="T15" fmla="*/ 1428 h 21600"/>
                <a:gd name="T16" fmla="*/ 21600 w 21600"/>
                <a:gd name="T17" fmla="*/ 0 h 21600"/>
                <a:gd name="T18" fmla="*/ 10800 w 21600"/>
                <a:gd name="T19" fmla="*/ 0 h 21600"/>
                <a:gd name="T20" fmla="*/ 0 w 21600"/>
                <a:gd name="T21" fmla="*/ 10800 h 21600"/>
                <a:gd name="T22" fmla="*/ 21600 w 21600"/>
                <a:gd name="T23" fmla="*/ 10800 h 21600"/>
                <a:gd name="T24" fmla="*/ 1645 w 21600"/>
                <a:gd name="T25" fmla="*/ 4171 h 21600"/>
                <a:gd name="T26" fmla="*/ 16522 w 21600"/>
                <a:gd name="T27" fmla="*/ 1731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T24" t="T25" r="T26" b="T27"/>
              <a:pathLst>
                <a:path w="21600" h="21600" extrusionOk="0">
                  <a:moveTo>
                    <a:pt x="0" y="18014"/>
                  </a:moveTo>
                  <a:lnTo>
                    <a:pt x="0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68" y="1428"/>
                  </a:lnTo>
                  <a:lnTo>
                    <a:pt x="3468" y="0"/>
                  </a:lnTo>
                  <a:lnTo>
                    <a:pt x="21653" y="0"/>
                  </a:lnTo>
                  <a:lnTo>
                    <a:pt x="21653" y="18828"/>
                  </a:lnTo>
                  <a:lnTo>
                    <a:pt x="19954" y="188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16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  <a:path w="21600" h="21600" extrusionOk="0">
                  <a:moveTo>
                    <a:pt x="3486" y="1428"/>
                  </a:moveTo>
                  <a:lnTo>
                    <a:pt x="19954" y="14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86" y="1428"/>
                  </a:lnTo>
                  <a:close/>
                </a:path>
                <a:path w="21600" h="21600" extrusionOk="0">
                  <a:moveTo>
                    <a:pt x="0" y="18014"/>
                  </a:moveTo>
                  <a:lnTo>
                    <a:pt x="4434" y="180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r>
                <a:rPr lang="en-US" sz="1200" b="1" dirty="0" smtClean="0"/>
                <a:t>Stage Gate </a:t>
              </a:r>
              <a:br>
                <a:rPr lang="en-US" sz="1200" b="1" dirty="0" smtClean="0"/>
              </a:br>
              <a:r>
                <a:rPr lang="en-US" sz="1200" b="1" dirty="0" smtClean="0"/>
                <a:t>Plan</a:t>
              </a:r>
              <a:endParaRPr lang="en-US" sz="1200" b="1" dirty="0"/>
            </a:p>
          </p:txBody>
        </p:sp>
        <p:cxnSp>
          <p:nvCxnSpPr>
            <p:cNvPr id="23" name="Straight Connector 22"/>
            <p:cNvCxnSpPr>
              <a:stCxn id="7" idx="2"/>
              <a:endCxn id="24" idx="3"/>
            </p:cNvCxnSpPr>
            <p:nvPr/>
          </p:nvCxnSpPr>
          <p:spPr>
            <a:xfrm>
              <a:off x="1245772" y="2297691"/>
              <a:ext cx="0" cy="2349464"/>
            </a:xfrm>
            <a:prstGeom prst="line">
              <a:avLst/>
            </a:prstGeom>
            <a:ln w="28575">
              <a:solidFill>
                <a:srgbClr val="0000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ound Diagonal Corner Rectangle 23"/>
            <p:cNvSpPr/>
            <p:nvPr/>
          </p:nvSpPr>
          <p:spPr>
            <a:xfrm>
              <a:off x="343898" y="4647155"/>
              <a:ext cx="1803748" cy="1143732"/>
            </a:xfrm>
            <a:prstGeom prst="round2DiagRect">
              <a:avLst>
                <a:gd name="adj1" fmla="val 29072"/>
                <a:gd name="adj2" fmla="val 0"/>
              </a:avLst>
            </a:prstGeom>
            <a:ln>
              <a:solidFill>
                <a:srgbClr val="00008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latin typeface="Arial Rounded MT Bold" pitchFamily="34" charset="0"/>
                </a:rPr>
                <a:t>Exploration Manager establishes stage gate plan for the specific investment. </a:t>
              </a:r>
            </a:p>
          </p:txBody>
        </p:sp>
        <p:cxnSp>
          <p:nvCxnSpPr>
            <p:cNvPr id="26" name="Straight Connector 25"/>
            <p:cNvCxnSpPr>
              <a:stCxn id="13" idx="2"/>
            </p:cNvCxnSpPr>
            <p:nvPr/>
          </p:nvCxnSpPr>
          <p:spPr>
            <a:xfrm>
              <a:off x="2722272" y="2297691"/>
              <a:ext cx="0" cy="4015427"/>
            </a:xfrm>
            <a:prstGeom prst="line">
              <a:avLst/>
            </a:prstGeom>
            <a:ln w="28575">
              <a:solidFill>
                <a:srgbClr val="99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4176987" y="2299779"/>
              <a:ext cx="2557" cy="2347376"/>
            </a:xfrm>
            <a:prstGeom prst="line">
              <a:avLst/>
            </a:prstGeom>
            <a:ln w="28575">
              <a:solidFill>
                <a:srgbClr val="0000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ound Diagonal Corner Rectangle 27"/>
            <p:cNvSpPr/>
            <p:nvPr/>
          </p:nvSpPr>
          <p:spPr>
            <a:xfrm>
              <a:off x="2893639" y="4647155"/>
              <a:ext cx="1757418" cy="1228351"/>
            </a:xfrm>
            <a:prstGeom prst="round2DiagRect">
              <a:avLst>
                <a:gd name="adj1" fmla="val 21985"/>
                <a:gd name="adj2" fmla="val 0"/>
              </a:avLst>
            </a:prstGeom>
            <a:ln>
              <a:solidFill>
                <a:srgbClr val="00008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latin typeface="Arial Rounded MT Bold" pitchFamily="34" charset="0"/>
                </a:rPr>
                <a:t>Development Manager updates the stage gate plan for Gate – 2, Gate – 3 and Gate – 4a</a:t>
              </a:r>
              <a:endParaRPr lang="en-US" sz="1100" dirty="0">
                <a:latin typeface="Arial Rounded MT Bold" pitchFamily="34" charset="0"/>
              </a:endParaRPr>
            </a:p>
          </p:txBody>
        </p:sp>
        <p:cxnSp>
          <p:nvCxnSpPr>
            <p:cNvPr id="29" name="Straight Connector 28"/>
            <p:cNvCxnSpPr/>
            <p:nvPr/>
          </p:nvCxnSpPr>
          <p:spPr>
            <a:xfrm flipV="1">
              <a:off x="4974906" y="2931090"/>
              <a:ext cx="0" cy="3382028"/>
            </a:xfrm>
            <a:prstGeom prst="line">
              <a:avLst/>
            </a:prstGeom>
            <a:ln w="28575">
              <a:solidFill>
                <a:srgbClr val="99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662160" y="1037928"/>
              <a:ext cx="1142172" cy="370284"/>
            </a:xfrm>
            <a:prstGeom prst="snip2DiagRect">
              <a:avLst>
                <a:gd name="adj1" fmla="val 17397"/>
                <a:gd name="adj2" fmla="val 16667"/>
              </a:avLst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dirty="0" smtClean="0">
                  <a:latin typeface="Arial Rounded MT Bold" pitchFamily="34" charset="0"/>
                </a:rPr>
                <a:t>Discovery</a:t>
              </a:r>
              <a:endParaRPr lang="en-US" sz="1400" dirty="0">
                <a:latin typeface="Arial Rounded MT Bold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967555" y="1018580"/>
              <a:ext cx="1489753" cy="408980"/>
            </a:xfrm>
            <a:prstGeom prst="snip2DiagRect">
              <a:avLst>
                <a:gd name="adj1" fmla="val 25414"/>
                <a:gd name="adj2" fmla="val 6379"/>
              </a:avLst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rIns="0" rtlCol="0" anchor="ctr">
              <a:spAutoFit/>
            </a:bodyPr>
            <a:lstStyle>
              <a:defPPr>
                <a:defRPr lang="en-US"/>
              </a:defPPr>
              <a:lvl1pPr algn="ctr">
                <a:defRPr sz="1400">
                  <a:latin typeface="Arial Rounded MT Bold" pitchFamily="34" charset="0"/>
                </a:defRPr>
              </a:lvl1pPr>
            </a:lstStyle>
            <a:p>
              <a:r>
                <a:rPr lang="en-US" dirty="0"/>
                <a:t>Commerciality</a:t>
              </a:r>
            </a:p>
          </p:txBody>
        </p:sp>
        <p:cxnSp>
          <p:nvCxnSpPr>
            <p:cNvPr id="35" name="Straight Arrow Connector 34"/>
            <p:cNvCxnSpPr>
              <a:stCxn id="7" idx="0"/>
              <a:endCxn id="31" idx="1"/>
            </p:cNvCxnSpPr>
            <p:nvPr/>
          </p:nvCxnSpPr>
          <p:spPr>
            <a:xfrm flipH="1" flipV="1">
              <a:off x="1233246" y="1408212"/>
              <a:ext cx="12526" cy="349479"/>
            </a:xfrm>
            <a:prstGeom prst="straightConnector1">
              <a:avLst/>
            </a:prstGeom>
            <a:ln w="28575">
              <a:solidFill>
                <a:srgbClr val="000099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>
              <a:stCxn id="13" idx="0"/>
              <a:endCxn id="32" idx="1"/>
            </p:cNvCxnSpPr>
            <p:nvPr/>
          </p:nvCxnSpPr>
          <p:spPr>
            <a:xfrm flipH="1" flipV="1">
              <a:off x="2712432" y="1427560"/>
              <a:ext cx="9840" cy="330131"/>
            </a:xfrm>
            <a:prstGeom prst="straightConnector1">
              <a:avLst/>
            </a:prstGeom>
            <a:ln w="28575">
              <a:solidFill>
                <a:srgbClr val="000080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/>
          </p:nvSpPr>
          <p:spPr>
            <a:xfrm>
              <a:off x="3520421" y="1035762"/>
              <a:ext cx="1477106" cy="367308"/>
            </a:xfrm>
            <a:prstGeom prst="snip2Diag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rIns="0" rtlCol="0" anchor="ctr">
              <a:spAutoFit/>
            </a:bodyPr>
            <a:lstStyle/>
            <a:p>
              <a:pPr algn="ctr"/>
              <a:r>
                <a:rPr lang="en-US" sz="1400" dirty="0" smtClean="0">
                  <a:latin typeface="Arial Rounded MT Bold" pitchFamily="34" charset="0"/>
                </a:rPr>
                <a:t>Concept Select</a:t>
              </a:r>
              <a:endParaRPr lang="en-US" sz="1400" dirty="0">
                <a:latin typeface="Arial Rounded MT Bold" pitchFamily="34" charset="0"/>
              </a:endParaRPr>
            </a:p>
          </p:txBody>
        </p:sp>
        <p:cxnSp>
          <p:nvCxnSpPr>
            <p:cNvPr id="77" name="Straight Arrow Connector 76"/>
            <p:cNvCxnSpPr>
              <a:stCxn id="15" idx="0"/>
              <a:endCxn id="75" idx="1"/>
            </p:cNvCxnSpPr>
            <p:nvPr/>
          </p:nvCxnSpPr>
          <p:spPr>
            <a:xfrm flipV="1">
              <a:off x="4204596" y="1403070"/>
              <a:ext cx="54378" cy="354621"/>
            </a:xfrm>
            <a:prstGeom prst="straightConnector1">
              <a:avLst/>
            </a:prstGeom>
            <a:ln w="19050">
              <a:solidFill>
                <a:srgbClr val="00008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Flowchart: Manual Operation 82"/>
            <p:cNvSpPr/>
            <p:nvPr/>
          </p:nvSpPr>
          <p:spPr>
            <a:xfrm>
              <a:off x="8523377" y="1759779"/>
              <a:ext cx="588818" cy="537912"/>
            </a:xfrm>
            <a:prstGeom prst="flowChartManualOperation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000099"/>
                  </a:solidFill>
                </a:rPr>
                <a:t>6</a:t>
              </a:r>
              <a:endParaRPr lang="en-US" dirty="0">
                <a:solidFill>
                  <a:srgbClr val="000099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5067457" y="1043070"/>
              <a:ext cx="1142172" cy="370284"/>
            </a:xfrm>
            <a:prstGeom prst="snip2DiagRect">
              <a:avLst>
                <a:gd name="adj1" fmla="val 17397"/>
                <a:gd name="adj2" fmla="val 16667"/>
              </a:avLst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dirty="0" smtClean="0">
                  <a:latin typeface="Arial Rounded MT Bold" pitchFamily="34" charset="0"/>
                </a:rPr>
                <a:t>Sanction</a:t>
              </a:r>
              <a:endParaRPr lang="en-US" sz="1400" dirty="0">
                <a:latin typeface="Arial Rounded MT Bold" pitchFamily="34" charset="0"/>
              </a:endParaRPr>
            </a:p>
          </p:txBody>
        </p:sp>
        <p:cxnSp>
          <p:nvCxnSpPr>
            <p:cNvPr id="95" name="Straight Arrow Connector 94"/>
            <p:cNvCxnSpPr>
              <a:stCxn id="17" idx="0"/>
              <a:endCxn id="94" idx="1"/>
            </p:cNvCxnSpPr>
            <p:nvPr/>
          </p:nvCxnSpPr>
          <p:spPr>
            <a:xfrm flipV="1">
              <a:off x="5583816" y="1413354"/>
              <a:ext cx="54727" cy="344337"/>
            </a:xfrm>
            <a:prstGeom prst="straightConnector1">
              <a:avLst/>
            </a:prstGeom>
            <a:ln w="28575">
              <a:solidFill>
                <a:srgbClr val="000099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Flowchart: Manual Operation 102"/>
            <p:cNvSpPr/>
            <p:nvPr/>
          </p:nvSpPr>
          <p:spPr>
            <a:xfrm>
              <a:off x="3152840" y="2500965"/>
              <a:ext cx="647700" cy="430125"/>
            </a:xfrm>
            <a:prstGeom prst="flowChartManualOperation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rgbClr val="000099"/>
                  </a:solidFill>
                </a:rPr>
                <a:t>3a</a:t>
              </a:r>
              <a:endParaRPr lang="en-US" sz="1400" b="1" dirty="0">
                <a:solidFill>
                  <a:srgbClr val="000099"/>
                </a:solidFill>
              </a:endParaRPr>
            </a:p>
          </p:txBody>
        </p:sp>
        <p:sp>
          <p:nvSpPr>
            <p:cNvPr id="104" name="Flowchart: Manual Operation 103"/>
            <p:cNvSpPr/>
            <p:nvPr/>
          </p:nvSpPr>
          <p:spPr>
            <a:xfrm>
              <a:off x="4651056" y="2500965"/>
              <a:ext cx="647700" cy="430125"/>
            </a:xfrm>
            <a:prstGeom prst="flowChartManualOperation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rgbClr val="000099"/>
                  </a:solidFill>
                </a:rPr>
                <a:t>4a</a:t>
              </a:r>
              <a:endParaRPr lang="en-US" sz="1400" b="1" dirty="0">
                <a:solidFill>
                  <a:srgbClr val="000099"/>
                </a:solidFill>
              </a:endParaRPr>
            </a:p>
          </p:txBody>
        </p:sp>
        <p:sp>
          <p:nvSpPr>
            <p:cNvPr id="106" name="Documents"/>
            <p:cNvSpPr>
              <a:spLocks noEditPoints="1" noChangeArrowheads="1"/>
            </p:cNvSpPr>
            <p:nvPr/>
          </p:nvSpPr>
          <p:spPr bwMode="auto">
            <a:xfrm>
              <a:off x="3079553" y="3068731"/>
              <a:ext cx="900930" cy="1302707"/>
            </a:xfrm>
            <a:custGeom>
              <a:avLst/>
              <a:gdLst>
                <a:gd name="T0" fmla="*/ 0 w 21600"/>
                <a:gd name="T1" fmla="*/ 2800 h 21600"/>
                <a:gd name="T2" fmla="*/ 3468 w 21600"/>
                <a:gd name="T3" fmla="*/ 0 h 21600"/>
                <a:gd name="T4" fmla="*/ 21653 w 21600"/>
                <a:gd name="T5" fmla="*/ 18828 h 21600"/>
                <a:gd name="T6" fmla="*/ 19954 w 21600"/>
                <a:gd name="T7" fmla="*/ 20214 h 21600"/>
                <a:gd name="T8" fmla="*/ 18256 w 21600"/>
                <a:gd name="T9" fmla="*/ 21628 h 21600"/>
                <a:gd name="T10" fmla="*/ 19954 w 21600"/>
                <a:gd name="T11" fmla="*/ 1428 h 21600"/>
                <a:gd name="T12" fmla="*/ 18256 w 21600"/>
                <a:gd name="T13" fmla="*/ 2800 h 21600"/>
                <a:gd name="T14" fmla="*/ 1645 w 21600"/>
                <a:gd name="T15" fmla="*/ 1428 h 21600"/>
                <a:gd name="T16" fmla="*/ 21600 w 21600"/>
                <a:gd name="T17" fmla="*/ 0 h 21600"/>
                <a:gd name="T18" fmla="*/ 10800 w 21600"/>
                <a:gd name="T19" fmla="*/ 0 h 21600"/>
                <a:gd name="T20" fmla="*/ 0 w 21600"/>
                <a:gd name="T21" fmla="*/ 10800 h 21600"/>
                <a:gd name="T22" fmla="*/ 21600 w 21600"/>
                <a:gd name="T23" fmla="*/ 10800 h 21600"/>
                <a:gd name="T24" fmla="*/ 1645 w 21600"/>
                <a:gd name="T25" fmla="*/ 4171 h 21600"/>
                <a:gd name="T26" fmla="*/ 16522 w 21600"/>
                <a:gd name="T27" fmla="*/ 1731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T24" t="T25" r="T26" b="T27"/>
              <a:pathLst>
                <a:path w="21600" h="21600" extrusionOk="0">
                  <a:moveTo>
                    <a:pt x="0" y="18014"/>
                  </a:moveTo>
                  <a:lnTo>
                    <a:pt x="0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68" y="1428"/>
                  </a:lnTo>
                  <a:lnTo>
                    <a:pt x="3468" y="0"/>
                  </a:lnTo>
                  <a:lnTo>
                    <a:pt x="21653" y="0"/>
                  </a:lnTo>
                  <a:lnTo>
                    <a:pt x="21653" y="18828"/>
                  </a:lnTo>
                  <a:lnTo>
                    <a:pt x="19954" y="188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16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  <a:path w="21600" h="21600" extrusionOk="0">
                  <a:moveTo>
                    <a:pt x="3486" y="1428"/>
                  </a:moveTo>
                  <a:lnTo>
                    <a:pt x="19954" y="14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86" y="1428"/>
                  </a:lnTo>
                  <a:close/>
                </a:path>
                <a:path w="21600" h="21600" extrusionOk="0">
                  <a:moveTo>
                    <a:pt x="0" y="18014"/>
                  </a:moveTo>
                  <a:lnTo>
                    <a:pt x="4434" y="180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r>
                <a:rPr lang="en-US" sz="1200" b="1" dirty="0" smtClean="0"/>
                <a:t>Stage Gate </a:t>
              </a:r>
              <a:br>
                <a:rPr lang="en-US" sz="1200" b="1" dirty="0" smtClean="0"/>
              </a:br>
              <a:r>
                <a:rPr lang="en-US" sz="1200" b="1" dirty="0" smtClean="0"/>
                <a:t>Plan</a:t>
              </a:r>
              <a:endParaRPr lang="en-US" sz="1200" b="1" dirty="0"/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6413325" y="1057838"/>
              <a:ext cx="738499" cy="370284"/>
            </a:xfrm>
            <a:prstGeom prst="snip2DiagRect">
              <a:avLst>
                <a:gd name="adj1" fmla="val 17397"/>
                <a:gd name="adj2" fmla="val 16667"/>
              </a:avLst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dirty="0" smtClean="0">
                  <a:latin typeface="Arial Rounded MT Bold" pitchFamily="34" charset="0"/>
                </a:rPr>
                <a:t>RFSU</a:t>
              </a:r>
              <a:endParaRPr lang="en-US" sz="1400" dirty="0">
                <a:latin typeface="Arial Rounded MT Bold" pitchFamily="34" charset="0"/>
              </a:endParaRPr>
            </a:p>
          </p:txBody>
        </p:sp>
        <p:cxnSp>
          <p:nvCxnSpPr>
            <p:cNvPr id="111" name="Straight Arrow Connector 110"/>
            <p:cNvCxnSpPr>
              <a:stCxn id="19" idx="0"/>
              <a:endCxn id="110" idx="1"/>
            </p:cNvCxnSpPr>
            <p:nvPr/>
          </p:nvCxnSpPr>
          <p:spPr>
            <a:xfrm flipH="1" flipV="1">
              <a:off x="6782575" y="1428122"/>
              <a:ext cx="237679" cy="329569"/>
            </a:xfrm>
            <a:prstGeom prst="straightConnector1">
              <a:avLst/>
            </a:prstGeom>
            <a:ln w="28575">
              <a:solidFill>
                <a:srgbClr val="000080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8" name="TextBox 117"/>
            <p:cNvSpPr txBox="1"/>
            <p:nvPr/>
          </p:nvSpPr>
          <p:spPr>
            <a:xfrm>
              <a:off x="8448536" y="1057276"/>
              <a:ext cx="738499" cy="370284"/>
            </a:xfrm>
            <a:prstGeom prst="snip2DiagRect">
              <a:avLst>
                <a:gd name="adj1" fmla="val 17397"/>
                <a:gd name="adj2" fmla="val 16667"/>
              </a:avLst>
            </a:prstGeom>
            <a:solidFill>
              <a:srgbClr val="00B050"/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dirty="0" smtClean="0">
                  <a:latin typeface="Arial Rounded MT Bold" pitchFamily="34" charset="0"/>
                </a:rPr>
                <a:t>PIA</a:t>
              </a:r>
              <a:endParaRPr lang="en-US" sz="1400" dirty="0">
                <a:latin typeface="Arial Rounded MT Bold" pitchFamily="34" charset="0"/>
              </a:endParaRPr>
            </a:p>
          </p:txBody>
        </p:sp>
        <p:cxnSp>
          <p:nvCxnSpPr>
            <p:cNvPr id="119" name="Straight Arrow Connector 118"/>
            <p:cNvCxnSpPr>
              <a:stCxn id="83" idx="0"/>
              <a:endCxn id="118" idx="1"/>
            </p:cNvCxnSpPr>
            <p:nvPr/>
          </p:nvCxnSpPr>
          <p:spPr>
            <a:xfrm flipV="1">
              <a:off x="8817786" y="1427560"/>
              <a:ext cx="0" cy="332219"/>
            </a:xfrm>
            <a:prstGeom prst="straightConnector1">
              <a:avLst/>
            </a:prstGeom>
            <a:ln w="28575">
              <a:solidFill>
                <a:srgbClr val="000080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6" name="TextBox 125"/>
            <p:cNvSpPr txBox="1"/>
            <p:nvPr/>
          </p:nvSpPr>
          <p:spPr>
            <a:xfrm>
              <a:off x="7106472" y="943084"/>
              <a:ext cx="136608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400" b="1" dirty="0" smtClean="0"/>
                <a:t> 6–12 Months</a:t>
              </a:r>
              <a:endParaRPr lang="en-US" b="1" dirty="0"/>
            </a:p>
          </p:txBody>
        </p:sp>
        <p:cxnSp>
          <p:nvCxnSpPr>
            <p:cNvPr id="39" name="Straight Connector 38"/>
            <p:cNvCxnSpPr/>
            <p:nvPr/>
          </p:nvCxnSpPr>
          <p:spPr>
            <a:xfrm>
              <a:off x="6368882" y="2313325"/>
              <a:ext cx="2557" cy="2347376"/>
            </a:xfrm>
            <a:prstGeom prst="line">
              <a:avLst/>
            </a:prstGeom>
            <a:ln w="28575">
              <a:solidFill>
                <a:srgbClr val="0000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ound Diagonal Corner Rectangle 39"/>
            <p:cNvSpPr/>
            <p:nvPr/>
          </p:nvSpPr>
          <p:spPr>
            <a:xfrm>
              <a:off x="5104535" y="4660701"/>
              <a:ext cx="1757418" cy="1228351"/>
            </a:xfrm>
            <a:prstGeom prst="round2DiagRect">
              <a:avLst>
                <a:gd name="adj1" fmla="val 21985"/>
                <a:gd name="adj2" fmla="val 0"/>
              </a:avLst>
            </a:prstGeom>
            <a:ln>
              <a:solidFill>
                <a:srgbClr val="00008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latin typeface="Arial Rounded MT Bold" pitchFamily="34" charset="0"/>
                </a:rPr>
                <a:t>Project Manager updates the stage gate plan for Project for Gate – 4 and Gate – 5</a:t>
              </a:r>
              <a:endParaRPr lang="en-US" sz="1100" dirty="0">
                <a:latin typeface="Arial Rounded MT Bold" pitchFamily="34" charset="0"/>
              </a:endParaRPr>
            </a:p>
          </p:txBody>
        </p:sp>
        <p:cxnSp>
          <p:nvCxnSpPr>
            <p:cNvPr id="41" name="Straight Connector 40"/>
            <p:cNvCxnSpPr>
              <a:endCxn id="19" idx="2"/>
            </p:cNvCxnSpPr>
            <p:nvPr/>
          </p:nvCxnSpPr>
          <p:spPr>
            <a:xfrm flipV="1">
              <a:off x="7020254" y="2297691"/>
              <a:ext cx="0" cy="3413588"/>
            </a:xfrm>
            <a:prstGeom prst="line">
              <a:avLst/>
            </a:prstGeom>
            <a:ln w="28575">
              <a:solidFill>
                <a:srgbClr val="99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Documents"/>
            <p:cNvSpPr>
              <a:spLocks noEditPoints="1" noChangeArrowheads="1"/>
            </p:cNvSpPr>
            <p:nvPr/>
          </p:nvSpPr>
          <p:spPr bwMode="auto">
            <a:xfrm>
              <a:off x="5317836" y="3068731"/>
              <a:ext cx="900930" cy="1302707"/>
            </a:xfrm>
            <a:custGeom>
              <a:avLst/>
              <a:gdLst>
                <a:gd name="T0" fmla="*/ 0 w 21600"/>
                <a:gd name="T1" fmla="*/ 2800 h 21600"/>
                <a:gd name="T2" fmla="*/ 3468 w 21600"/>
                <a:gd name="T3" fmla="*/ 0 h 21600"/>
                <a:gd name="T4" fmla="*/ 21653 w 21600"/>
                <a:gd name="T5" fmla="*/ 18828 h 21600"/>
                <a:gd name="T6" fmla="*/ 19954 w 21600"/>
                <a:gd name="T7" fmla="*/ 20214 h 21600"/>
                <a:gd name="T8" fmla="*/ 18256 w 21600"/>
                <a:gd name="T9" fmla="*/ 21628 h 21600"/>
                <a:gd name="T10" fmla="*/ 19954 w 21600"/>
                <a:gd name="T11" fmla="*/ 1428 h 21600"/>
                <a:gd name="T12" fmla="*/ 18256 w 21600"/>
                <a:gd name="T13" fmla="*/ 2800 h 21600"/>
                <a:gd name="T14" fmla="*/ 1645 w 21600"/>
                <a:gd name="T15" fmla="*/ 1428 h 21600"/>
                <a:gd name="T16" fmla="*/ 21600 w 21600"/>
                <a:gd name="T17" fmla="*/ 0 h 21600"/>
                <a:gd name="T18" fmla="*/ 10800 w 21600"/>
                <a:gd name="T19" fmla="*/ 0 h 21600"/>
                <a:gd name="T20" fmla="*/ 0 w 21600"/>
                <a:gd name="T21" fmla="*/ 10800 h 21600"/>
                <a:gd name="T22" fmla="*/ 21600 w 21600"/>
                <a:gd name="T23" fmla="*/ 10800 h 21600"/>
                <a:gd name="T24" fmla="*/ 1645 w 21600"/>
                <a:gd name="T25" fmla="*/ 4171 h 21600"/>
                <a:gd name="T26" fmla="*/ 16522 w 21600"/>
                <a:gd name="T27" fmla="*/ 1731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T24" t="T25" r="T26" b="T27"/>
              <a:pathLst>
                <a:path w="21600" h="21600" extrusionOk="0">
                  <a:moveTo>
                    <a:pt x="0" y="18014"/>
                  </a:moveTo>
                  <a:lnTo>
                    <a:pt x="0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68" y="1428"/>
                  </a:lnTo>
                  <a:lnTo>
                    <a:pt x="3468" y="0"/>
                  </a:lnTo>
                  <a:lnTo>
                    <a:pt x="21653" y="0"/>
                  </a:lnTo>
                  <a:lnTo>
                    <a:pt x="21653" y="18828"/>
                  </a:lnTo>
                  <a:lnTo>
                    <a:pt x="19954" y="188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16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  <a:path w="21600" h="21600" extrusionOk="0">
                  <a:moveTo>
                    <a:pt x="3486" y="1428"/>
                  </a:moveTo>
                  <a:lnTo>
                    <a:pt x="19954" y="14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86" y="1428"/>
                  </a:lnTo>
                  <a:close/>
                </a:path>
                <a:path w="21600" h="21600" extrusionOk="0">
                  <a:moveTo>
                    <a:pt x="0" y="18014"/>
                  </a:moveTo>
                  <a:lnTo>
                    <a:pt x="4434" y="180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r>
                <a:rPr lang="en-US" sz="1200" b="1" dirty="0" smtClean="0"/>
                <a:t>Stage Gate </a:t>
              </a:r>
              <a:br>
                <a:rPr lang="en-US" sz="1200" b="1" dirty="0" smtClean="0"/>
              </a:br>
              <a:r>
                <a:rPr lang="en-US" sz="1200" b="1" dirty="0" smtClean="0"/>
                <a:t>Plan</a:t>
              </a:r>
              <a:endParaRPr lang="en-US" sz="1200" b="1" dirty="0"/>
            </a:p>
          </p:txBody>
        </p:sp>
        <p:cxnSp>
          <p:nvCxnSpPr>
            <p:cNvPr id="45" name="Straight Connector 44"/>
            <p:cNvCxnSpPr/>
            <p:nvPr/>
          </p:nvCxnSpPr>
          <p:spPr>
            <a:xfrm>
              <a:off x="8809550" y="2278233"/>
              <a:ext cx="2557" cy="2347376"/>
            </a:xfrm>
            <a:prstGeom prst="line">
              <a:avLst/>
            </a:prstGeom>
            <a:ln w="28575">
              <a:solidFill>
                <a:srgbClr val="0000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ound Diagonal Corner Rectangle 45"/>
            <p:cNvSpPr/>
            <p:nvPr/>
          </p:nvSpPr>
          <p:spPr>
            <a:xfrm>
              <a:off x="7545203" y="4625609"/>
              <a:ext cx="1757418" cy="1228351"/>
            </a:xfrm>
            <a:prstGeom prst="round2DiagRect">
              <a:avLst>
                <a:gd name="adj1" fmla="val 21985"/>
                <a:gd name="adj2" fmla="val 0"/>
              </a:avLst>
            </a:prstGeom>
            <a:ln>
              <a:solidFill>
                <a:srgbClr val="00008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latin typeface="Arial Rounded MT Bold" pitchFamily="34" charset="0"/>
                </a:rPr>
                <a:t>Asset Manager updates the stage gate plan and closes it out after project investment review (Gate -6)</a:t>
              </a:r>
              <a:endParaRPr lang="en-US" sz="1100" dirty="0">
                <a:latin typeface="Arial Rounded MT Bold" pitchFamily="34" charset="0"/>
              </a:endParaRPr>
            </a:p>
          </p:txBody>
        </p:sp>
        <p:sp>
          <p:nvSpPr>
            <p:cNvPr id="47" name="Documents"/>
            <p:cNvSpPr>
              <a:spLocks noEditPoints="1" noChangeArrowheads="1"/>
            </p:cNvSpPr>
            <p:nvPr/>
          </p:nvSpPr>
          <p:spPr bwMode="auto">
            <a:xfrm>
              <a:off x="7349715" y="3068731"/>
              <a:ext cx="900930" cy="1302707"/>
            </a:xfrm>
            <a:custGeom>
              <a:avLst/>
              <a:gdLst>
                <a:gd name="T0" fmla="*/ 0 w 21600"/>
                <a:gd name="T1" fmla="*/ 2800 h 21600"/>
                <a:gd name="T2" fmla="*/ 3468 w 21600"/>
                <a:gd name="T3" fmla="*/ 0 h 21600"/>
                <a:gd name="T4" fmla="*/ 21653 w 21600"/>
                <a:gd name="T5" fmla="*/ 18828 h 21600"/>
                <a:gd name="T6" fmla="*/ 19954 w 21600"/>
                <a:gd name="T7" fmla="*/ 20214 h 21600"/>
                <a:gd name="T8" fmla="*/ 18256 w 21600"/>
                <a:gd name="T9" fmla="*/ 21628 h 21600"/>
                <a:gd name="T10" fmla="*/ 19954 w 21600"/>
                <a:gd name="T11" fmla="*/ 1428 h 21600"/>
                <a:gd name="T12" fmla="*/ 18256 w 21600"/>
                <a:gd name="T13" fmla="*/ 2800 h 21600"/>
                <a:gd name="T14" fmla="*/ 1645 w 21600"/>
                <a:gd name="T15" fmla="*/ 1428 h 21600"/>
                <a:gd name="T16" fmla="*/ 21600 w 21600"/>
                <a:gd name="T17" fmla="*/ 0 h 21600"/>
                <a:gd name="T18" fmla="*/ 10800 w 21600"/>
                <a:gd name="T19" fmla="*/ 0 h 21600"/>
                <a:gd name="T20" fmla="*/ 0 w 21600"/>
                <a:gd name="T21" fmla="*/ 10800 h 21600"/>
                <a:gd name="T22" fmla="*/ 21600 w 21600"/>
                <a:gd name="T23" fmla="*/ 10800 h 21600"/>
                <a:gd name="T24" fmla="*/ 1645 w 21600"/>
                <a:gd name="T25" fmla="*/ 4171 h 21600"/>
                <a:gd name="T26" fmla="*/ 16522 w 21600"/>
                <a:gd name="T27" fmla="*/ 1731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T24" t="T25" r="T26" b="T27"/>
              <a:pathLst>
                <a:path w="21600" h="21600" extrusionOk="0">
                  <a:moveTo>
                    <a:pt x="0" y="18014"/>
                  </a:moveTo>
                  <a:lnTo>
                    <a:pt x="0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68" y="1428"/>
                  </a:lnTo>
                  <a:lnTo>
                    <a:pt x="3468" y="0"/>
                  </a:lnTo>
                  <a:lnTo>
                    <a:pt x="21653" y="0"/>
                  </a:lnTo>
                  <a:lnTo>
                    <a:pt x="21653" y="18828"/>
                  </a:lnTo>
                  <a:lnTo>
                    <a:pt x="19954" y="188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16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  <a:path w="21600" h="21600" extrusionOk="0">
                  <a:moveTo>
                    <a:pt x="3486" y="1428"/>
                  </a:moveTo>
                  <a:lnTo>
                    <a:pt x="19954" y="14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86" y="1428"/>
                  </a:lnTo>
                  <a:close/>
                </a:path>
                <a:path w="21600" h="21600" extrusionOk="0">
                  <a:moveTo>
                    <a:pt x="0" y="18014"/>
                  </a:moveTo>
                  <a:lnTo>
                    <a:pt x="4434" y="180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r>
                <a:rPr lang="en-US" sz="1200" b="1" dirty="0" smtClean="0"/>
                <a:t>Stage Gate </a:t>
              </a:r>
              <a:br>
                <a:rPr lang="en-US" sz="1200" b="1" dirty="0" smtClean="0"/>
              </a:br>
              <a:r>
                <a:rPr lang="en-US" sz="1200" b="1" dirty="0" smtClean="0"/>
                <a:t>Plan</a:t>
              </a:r>
              <a:endParaRPr lang="en-US" sz="1200" b="1" dirty="0"/>
            </a:p>
          </p:txBody>
        </p:sp>
      </p:grpSp>
      <p:sp>
        <p:nvSpPr>
          <p:cNvPr id="48" name="Title 1"/>
          <p:cNvSpPr>
            <a:spLocks noGrp="1"/>
          </p:cNvSpPr>
          <p:nvPr>
            <p:ph type="title"/>
          </p:nvPr>
        </p:nvSpPr>
        <p:spPr>
          <a:xfrm>
            <a:off x="306388" y="595755"/>
            <a:ext cx="8329612" cy="357559"/>
          </a:xfrm>
        </p:spPr>
        <p:txBody>
          <a:bodyPr/>
          <a:lstStyle/>
          <a:p>
            <a:r>
              <a:rPr lang="en-US" sz="2000" dirty="0" smtClean="0"/>
              <a:t>GATED PROCESS: 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/>
          <p:nvPr/>
        </p:nvSpPr>
        <p:spPr>
          <a:xfrm>
            <a:off x="267578" y="1932795"/>
            <a:ext cx="791504" cy="540000"/>
          </a:xfrm>
          <a:custGeom>
            <a:avLst/>
            <a:gdLst>
              <a:gd name="connsiteX0" fmla="*/ 0 w 1343025"/>
              <a:gd name="connsiteY0" fmla="*/ 0 h 476250"/>
              <a:gd name="connsiteX1" fmla="*/ 1343025 w 1343025"/>
              <a:gd name="connsiteY1" fmla="*/ 0 h 476250"/>
              <a:gd name="connsiteX2" fmla="*/ 1343025 w 1343025"/>
              <a:gd name="connsiteY2" fmla="*/ 476250 h 476250"/>
              <a:gd name="connsiteX3" fmla="*/ 0 w 1343025"/>
              <a:gd name="connsiteY3" fmla="*/ 476250 h 476250"/>
              <a:gd name="connsiteX4" fmla="*/ 0 w 1343025"/>
              <a:gd name="connsiteY4" fmla="*/ 0 h 476250"/>
              <a:gd name="connsiteX0" fmla="*/ 0 w 1485900"/>
              <a:gd name="connsiteY0" fmla="*/ 0 h 476250"/>
              <a:gd name="connsiteX1" fmla="*/ 1343025 w 1485900"/>
              <a:gd name="connsiteY1" fmla="*/ 0 h 476250"/>
              <a:gd name="connsiteX2" fmla="*/ 1485900 w 1485900"/>
              <a:gd name="connsiteY2" fmla="*/ 476250 h 476250"/>
              <a:gd name="connsiteX3" fmla="*/ 0 w 1485900"/>
              <a:gd name="connsiteY3" fmla="*/ 476250 h 476250"/>
              <a:gd name="connsiteX4" fmla="*/ 0 w 1485900"/>
              <a:gd name="connsiteY4" fmla="*/ 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5900" h="476250">
                <a:moveTo>
                  <a:pt x="0" y="0"/>
                </a:moveTo>
                <a:lnTo>
                  <a:pt x="1343025" y="0"/>
                </a:lnTo>
                <a:lnTo>
                  <a:pt x="1485900" y="476250"/>
                </a:lnTo>
                <a:lnTo>
                  <a:pt x="0" y="4762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99"/>
                </a:solidFill>
                <a:latin typeface="Arial Rounded MT Bold" pitchFamily="34" charset="0"/>
              </a:rPr>
              <a:t>Explore</a:t>
            </a:r>
            <a:endParaRPr lang="en-US" sz="1200" dirty="0">
              <a:solidFill>
                <a:srgbClr val="000099"/>
              </a:solidFill>
              <a:latin typeface="Arial Rounded MT Bold" pitchFamily="34" charset="0"/>
            </a:endParaRPr>
          </a:p>
        </p:txBody>
      </p:sp>
      <p:sp>
        <p:nvSpPr>
          <p:cNvPr id="8" name="Flowchart: Manual Operation 7"/>
          <p:cNvSpPr/>
          <p:nvPr/>
        </p:nvSpPr>
        <p:spPr>
          <a:xfrm>
            <a:off x="921922" y="1932795"/>
            <a:ext cx="647700" cy="540000"/>
          </a:xfrm>
          <a:prstGeom prst="flowChartManualOperati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99"/>
                </a:solidFill>
              </a:rPr>
              <a:t>1</a:t>
            </a:r>
            <a:endParaRPr lang="en-US" dirty="0">
              <a:solidFill>
                <a:srgbClr val="000099"/>
              </a:solidFill>
            </a:endParaRPr>
          </a:p>
        </p:txBody>
      </p:sp>
      <p:sp>
        <p:nvSpPr>
          <p:cNvPr id="9" name="Trapezoid 8"/>
          <p:cNvSpPr/>
          <p:nvPr/>
        </p:nvSpPr>
        <p:spPr>
          <a:xfrm>
            <a:off x="1440082" y="1932795"/>
            <a:ext cx="1080000" cy="540000"/>
          </a:xfrm>
          <a:prstGeom prst="trapezoid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99"/>
                </a:solidFill>
                <a:latin typeface="Arial Rounded MT Bold" pitchFamily="34" charset="0"/>
              </a:rPr>
              <a:t>Appraise</a:t>
            </a:r>
            <a:endParaRPr lang="en-US" sz="1200" dirty="0">
              <a:solidFill>
                <a:srgbClr val="000099"/>
              </a:solidFill>
              <a:latin typeface="Arial Rounded MT Bold" pitchFamily="34" charset="0"/>
            </a:endParaRPr>
          </a:p>
        </p:txBody>
      </p:sp>
      <p:sp>
        <p:nvSpPr>
          <p:cNvPr id="10" name="Flowchart: Manual Operation 9"/>
          <p:cNvSpPr/>
          <p:nvPr/>
        </p:nvSpPr>
        <p:spPr>
          <a:xfrm>
            <a:off x="2398422" y="1932795"/>
            <a:ext cx="647700" cy="540000"/>
          </a:xfrm>
          <a:prstGeom prst="flowChartManualOperati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99"/>
                </a:solidFill>
              </a:rPr>
              <a:t>2</a:t>
            </a:r>
            <a:endParaRPr lang="en-US" dirty="0">
              <a:solidFill>
                <a:srgbClr val="000099"/>
              </a:solidFill>
            </a:endParaRPr>
          </a:p>
        </p:txBody>
      </p:sp>
      <p:sp>
        <p:nvSpPr>
          <p:cNvPr id="11" name="Trapezoid 10"/>
          <p:cNvSpPr/>
          <p:nvPr/>
        </p:nvSpPr>
        <p:spPr>
          <a:xfrm>
            <a:off x="2918690" y="1932795"/>
            <a:ext cx="1116000" cy="540000"/>
          </a:xfrm>
          <a:prstGeom prst="trapezoid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99"/>
                </a:solidFill>
                <a:latin typeface="Arial Rounded MT Bold" pitchFamily="34" charset="0"/>
              </a:rPr>
              <a:t>Assess / Select</a:t>
            </a:r>
            <a:endParaRPr lang="en-US" sz="1200" dirty="0">
              <a:solidFill>
                <a:srgbClr val="000099"/>
              </a:solidFill>
              <a:latin typeface="Arial Rounded MT Bold" pitchFamily="34" charset="0"/>
            </a:endParaRPr>
          </a:p>
        </p:txBody>
      </p:sp>
      <p:sp>
        <p:nvSpPr>
          <p:cNvPr id="12" name="Flowchart: Manual Operation 11"/>
          <p:cNvSpPr/>
          <p:nvPr/>
        </p:nvSpPr>
        <p:spPr>
          <a:xfrm>
            <a:off x="3880746" y="1932795"/>
            <a:ext cx="647700" cy="540000"/>
          </a:xfrm>
          <a:prstGeom prst="flowChartManualOperati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99"/>
                </a:solidFill>
              </a:rPr>
              <a:t>3</a:t>
            </a:r>
            <a:endParaRPr lang="en-US" dirty="0">
              <a:solidFill>
                <a:srgbClr val="000099"/>
              </a:solidFill>
            </a:endParaRPr>
          </a:p>
        </p:txBody>
      </p:sp>
      <p:sp>
        <p:nvSpPr>
          <p:cNvPr id="13" name="Trapezoid 12"/>
          <p:cNvSpPr/>
          <p:nvPr/>
        </p:nvSpPr>
        <p:spPr>
          <a:xfrm>
            <a:off x="4398906" y="1932795"/>
            <a:ext cx="1152000" cy="540000"/>
          </a:xfrm>
          <a:prstGeom prst="trapezoid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99"/>
                </a:solidFill>
                <a:latin typeface="Arial Rounded MT Bold" pitchFamily="34" charset="0"/>
              </a:rPr>
              <a:t>Define</a:t>
            </a:r>
            <a:endParaRPr lang="en-US" sz="1200" dirty="0">
              <a:solidFill>
                <a:srgbClr val="000099"/>
              </a:solidFill>
              <a:latin typeface="Arial Rounded MT Bold" pitchFamily="34" charset="0"/>
            </a:endParaRPr>
          </a:p>
        </p:txBody>
      </p:sp>
      <p:sp>
        <p:nvSpPr>
          <p:cNvPr id="14" name="Flowchart: Manual Operation 13"/>
          <p:cNvSpPr/>
          <p:nvPr/>
        </p:nvSpPr>
        <p:spPr>
          <a:xfrm>
            <a:off x="5259966" y="1932795"/>
            <a:ext cx="647700" cy="540000"/>
          </a:xfrm>
          <a:prstGeom prst="flowChartManualOperati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99"/>
                </a:solidFill>
              </a:rPr>
              <a:t>4</a:t>
            </a:r>
            <a:endParaRPr lang="en-US" dirty="0">
              <a:solidFill>
                <a:srgbClr val="000099"/>
              </a:solidFill>
            </a:endParaRPr>
          </a:p>
        </p:txBody>
      </p:sp>
      <p:sp>
        <p:nvSpPr>
          <p:cNvPr id="15" name="Trapezoid 14"/>
          <p:cNvSpPr/>
          <p:nvPr/>
        </p:nvSpPr>
        <p:spPr>
          <a:xfrm>
            <a:off x="5770506" y="1932795"/>
            <a:ext cx="1116000" cy="540000"/>
          </a:xfrm>
          <a:prstGeom prst="trapezoid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99"/>
                </a:solidFill>
                <a:latin typeface="Arial Rounded MT Bold" pitchFamily="34" charset="0"/>
              </a:rPr>
              <a:t>Execute</a:t>
            </a:r>
            <a:endParaRPr lang="en-US" sz="1200" dirty="0">
              <a:solidFill>
                <a:srgbClr val="000099"/>
              </a:solidFill>
              <a:latin typeface="Arial Rounded MT Bold" pitchFamily="34" charset="0"/>
            </a:endParaRPr>
          </a:p>
        </p:txBody>
      </p:sp>
      <p:sp>
        <p:nvSpPr>
          <p:cNvPr id="16" name="Flowchart: Manual Operation 15"/>
          <p:cNvSpPr/>
          <p:nvPr/>
        </p:nvSpPr>
        <p:spPr>
          <a:xfrm>
            <a:off x="6725845" y="1932795"/>
            <a:ext cx="588818" cy="540000"/>
          </a:xfrm>
          <a:prstGeom prst="flowChartManualOperati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99"/>
                </a:solidFill>
              </a:rPr>
              <a:t>5</a:t>
            </a:r>
            <a:endParaRPr lang="en-US" dirty="0">
              <a:solidFill>
                <a:srgbClr val="000099"/>
              </a:solidFill>
            </a:endParaRPr>
          </a:p>
        </p:txBody>
      </p:sp>
      <p:sp>
        <p:nvSpPr>
          <p:cNvPr id="17" name="Trapezoid 16"/>
          <p:cNvSpPr/>
          <p:nvPr/>
        </p:nvSpPr>
        <p:spPr>
          <a:xfrm>
            <a:off x="7200847" y="1932795"/>
            <a:ext cx="1440000" cy="540000"/>
          </a:xfrm>
          <a:prstGeom prst="trapezoid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99"/>
                </a:solidFill>
                <a:latin typeface="Arial Rounded MT Bold" pitchFamily="34" charset="0"/>
              </a:rPr>
              <a:t>Operate</a:t>
            </a:r>
            <a:endParaRPr lang="en-US" sz="1200" dirty="0">
              <a:solidFill>
                <a:srgbClr val="000099"/>
              </a:solidFill>
              <a:latin typeface="Arial Rounded MT Bold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62160" y="1213032"/>
            <a:ext cx="1142172" cy="370284"/>
          </a:xfrm>
          <a:prstGeom prst="snip2DiagRect">
            <a:avLst>
              <a:gd name="adj1" fmla="val 17397"/>
              <a:gd name="adj2" fmla="val 16667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400" dirty="0" smtClean="0">
                <a:latin typeface="Arial Rounded MT Bold" pitchFamily="34" charset="0"/>
              </a:rPr>
              <a:t>Discovery</a:t>
            </a:r>
            <a:endParaRPr lang="en-US" sz="1400" dirty="0">
              <a:latin typeface="Arial Rounded MT Bold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967555" y="1193684"/>
            <a:ext cx="1489753" cy="408980"/>
          </a:xfrm>
          <a:prstGeom prst="snip2DiagRect">
            <a:avLst>
              <a:gd name="adj1" fmla="val 25414"/>
              <a:gd name="adj2" fmla="val 6379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rIns="0" rtlCol="0" anchor="ctr">
            <a:spAutoFit/>
          </a:bodyPr>
          <a:lstStyle>
            <a:defPPr>
              <a:defRPr lang="en-US"/>
            </a:defPPr>
            <a:lvl1pPr algn="ctr">
              <a:defRPr sz="1400">
                <a:latin typeface="Arial Rounded MT Bold" pitchFamily="34" charset="0"/>
              </a:defRPr>
            </a:lvl1pPr>
          </a:lstStyle>
          <a:p>
            <a:r>
              <a:rPr lang="en-US" dirty="0"/>
              <a:t>Commerciality</a:t>
            </a:r>
          </a:p>
        </p:txBody>
      </p:sp>
      <p:cxnSp>
        <p:nvCxnSpPr>
          <p:cNvPr id="27" name="Straight Arrow Connector 26"/>
          <p:cNvCxnSpPr>
            <a:stCxn id="8" idx="0"/>
            <a:endCxn id="25" idx="1"/>
          </p:cNvCxnSpPr>
          <p:nvPr/>
        </p:nvCxnSpPr>
        <p:spPr>
          <a:xfrm flipH="1" flipV="1">
            <a:off x="1233246" y="1583316"/>
            <a:ext cx="12526" cy="349479"/>
          </a:xfrm>
          <a:prstGeom prst="straightConnector1">
            <a:avLst/>
          </a:prstGeom>
          <a:ln w="28575">
            <a:solidFill>
              <a:srgbClr val="000099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10" idx="0"/>
            <a:endCxn id="26" idx="1"/>
          </p:cNvCxnSpPr>
          <p:nvPr/>
        </p:nvCxnSpPr>
        <p:spPr>
          <a:xfrm flipH="1" flipV="1">
            <a:off x="2712432" y="1602664"/>
            <a:ext cx="9840" cy="330131"/>
          </a:xfrm>
          <a:prstGeom prst="straightConnector1">
            <a:avLst/>
          </a:prstGeom>
          <a:ln w="28575">
            <a:solidFill>
              <a:srgbClr val="00008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3520421" y="1210866"/>
            <a:ext cx="1477106" cy="367308"/>
          </a:xfrm>
          <a:prstGeom prst="snip2Diag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rIns="0" rtlCol="0" anchor="ctr">
            <a:spAutoFit/>
          </a:bodyPr>
          <a:lstStyle/>
          <a:p>
            <a:pPr algn="ctr"/>
            <a:r>
              <a:rPr lang="en-US" sz="1400" dirty="0" smtClean="0">
                <a:latin typeface="Arial Rounded MT Bold" pitchFamily="34" charset="0"/>
              </a:rPr>
              <a:t>Concept Select</a:t>
            </a:r>
            <a:endParaRPr lang="en-US" sz="1400" dirty="0">
              <a:latin typeface="Arial Rounded MT Bold" pitchFamily="34" charset="0"/>
            </a:endParaRPr>
          </a:p>
        </p:txBody>
      </p:sp>
      <p:cxnSp>
        <p:nvCxnSpPr>
          <p:cNvPr id="30" name="Straight Arrow Connector 29"/>
          <p:cNvCxnSpPr>
            <a:stCxn id="12" idx="0"/>
            <a:endCxn id="29" idx="1"/>
          </p:cNvCxnSpPr>
          <p:nvPr/>
        </p:nvCxnSpPr>
        <p:spPr>
          <a:xfrm flipV="1">
            <a:off x="4204596" y="1578174"/>
            <a:ext cx="54378" cy="354621"/>
          </a:xfrm>
          <a:prstGeom prst="straightConnector1">
            <a:avLst/>
          </a:prstGeom>
          <a:ln w="19050">
            <a:solidFill>
              <a:srgbClr val="00008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lowchart: Manual Operation 30"/>
          <p:cNvSpPr/>
          <p:nvPr/>
        </p:nvSpPr>
        <p:spPr>
          <a:xfrm>
            <a:off x="8523377" y="1934883"/>
            <a:ext cx="588818" cy="537912"/>
          </a:xfrm>
          <a:prstGeom prst="flowChartManualOperati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99"/>
                </a:solidFill>
              </a:rPr>
              <a:t>6</a:t>
            </a:r>
            <a:endParaRPr lang="en-US" dirty="0">
              <a:solidFill>
                <a:srgbClr val="000099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067457" y="1218174"/>
            <a:ext cx="1142172" cy="370284"/>
          </a:xfrm>
          <a:prstGeom prst="snip2DiagRect">
            <a:avLst>
              <a:gd name="adj1" fmla="val 17397"/>
              <a:gd name="adj2" fmla="val 16667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400" dirty="0" smtClean="0">
                <a:latin typeface="Arial Rounded MT Bold" pitchFamily="34" charset="0"/>
              </a:rPr>
              <a:t>Sanction</a:t>
            </a:r>
            <a:endParaRPr lang="en-US" sz="1400" dirty="0">
              <a:latin typeface="Arial Rounded MT Bold" pitchFamily="34" charset="0"/>
            </a:endParaRPr>
          </a:p>
        </p:txBody>
      </p:sp>
      <p:cxnSp>
        <p:nvCxnSpPr>
          <p:cNvPr id="33" name="Straight Arrow Connector 32"/>
          <p:cNvCxnSpPr>
            <a:stCxn id="14" idx="0"/>
            <a:endCxn id="32" idx="1"/>
          </p:cNvCxnSpPr>
          <p:nvPr/>
        </p:nvCxnSpPr>
        <p:spPr>
          <a:xfrm flipV="1">
            <a:off x="5583816" y="1588458"/>
            <a:ext cx="54727" cy="344337"/>
          </a:xfrm>
          <a:prstGeom prst="straightConnector1">
            <a:avLst/>
          </a:prstGeom>
          <a:ln w="28575">
            <a:solidFill>
              <a:srgbClr val="000099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6646797" y="1232942"/>
            <a:ext cx="738499" cy="370284"/>
          </a:xfrm>
          <a:prstGeom prst="snip2DiagRect">
            <a:avLst>
              <a:gd name="adj1" fmla="val 17397"/>
              <a:gd name="adj2" fmla="val 16667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400" dirty="0" smtClean="0">
                <a:latin typeface="Arial Rounded MT Bold" pitchFamily="34" charset="0"/>
              </a:rPr>
              <a:t>RFSU</a:t>
            </a:r>
            <a:endParaRPr lang="en-US" sz="1400" dirty="0">
              <a:latin typeface="Arial Rounded MT Bold" pitchFamily="34" charset="0"/>
            </a:endParaRPr>
          </a:p>
        </p:txBody>
      </p:sp>
      <p:cxnSp>
        <p:nvCxnSpPr>
          <p:cNvPr id="38" name="Straight Arrow Connector 37"/>
          <p:cNvCxnSpPr>
            <a:stCxn id="16" idx="0"/>
            <a:endCxn id="37" idx="1"/>
          </p:cNvCxnSpPr>
          <p:nvPr/>
        </p:nvCxnSpPr>
        <p:spPr>
          <a:xfrm flipH="1" flipV="1">
            <a:off x="7016047" y="1603226"/>
            <a:ext cx="4207" cy="329569"/>
          </a:xfrm>
          <a:prstGeom prst="straightConnector1">
            <a:avLst/>
          </a:prstGeom>
          <a:ln w="28575">
            <a:solidFill>
              <a:srgbClr val="00008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8448536" y="1232380"/>
            <a:ext cx="738499" cy="370284"/>
          </a:xfrm>
          <a:prstGeom prst="snip2DiagRect">
            <a:avLst>
              <a:gd name="adj1" fmla="val 17397"/>
              <a:gd name="adj2" fmla="val 16667"/>
            </a:avLst>
          </a:prstGeom>
          <a:solidFill>
            <a:srgbClr val="00B050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400" dirty="0" smtClean="0">
                <a:latin typeface="Arial Rounded MT Bold" pitchFamily="34" charset="0"/>
              </a:rPr>
              <a:t>PIA</a:t>
            </a:r>
            <a:endParaRPr lang="en-US" sz="1400" dirty="0">
              <a:latin typeface="Arial Rounded MT Bold" pitchFamily="34" charset="0"/>
            </a:endParaRPr>
          </a:p>
        </p:txBody>
      </p:sp>
      <p:cxnSp>
        <p:nvCxnSpPr>
          <p:cNvPr id="40" name="Straight Arrow Connector 39"/>
          <p:cNvCxnSpPr>
            <a:stCxn id="31" idx="0"/>
            <a:endCxn id="39" idx="1"/>
          </p:cNvCxnSpPr>
          <p:nvPr/>
        </p:nvCxnSpPr>
        <p:spPr>
          <a:xfrm flipV="1">
            <a:off x="8817786" y="1602664"/>
            <a:ext cx="0" cy="332219"/>
          </a:xfrm>
          <a:prstGeom prst="straightConnector1">
            <a:avLst/>
          </a:prstGeom>
          <a:ln w="28575">
            <a:solidFill>
              <a:srgbClr val="00008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7353820" y="1118586"/>
            <a:ext cx="11592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b="1" dirty="0" smtClean="0"/>
              <a:t> 6–12 Months</a:t>
            </a:r>
            <a:endParaRPr lang="en-US" sz="1600" b="1" dirty="0"/>
          </a:p>
        </p:txBody>
      </p:sp>
      <p:cxnSp>
        <p:nvCxnSpPr>
          <p:cNvPr id="50" name="Straight Arrow Connector 49"/>
          <p:cNvCxnSpPr>
            <a:stCxn id="37" idx="0"/>
            <a:endCxn id="39" idx="2"/>
          </p:cNvCxnSpPr>
          <p:nvPr/>
        </p:nvCxnSpPr>
        <p:spPr>
          <a:xfrm flipV="1">
            <a:off x="7385296" y="1417522"/>
            <a:ext cx="1063240" cy="562"/>
          </a:xfrm>
          <a:prstGeom prst="straightConnector1">
            <a:avLst/>
          </a:prstGeom>
          <a:ln w="28575">
            <a:solidFill>
              <a:srgbClr val="000099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lowchart: Manual Operation 51"/>
          <p:cNvSpPr/>
          <p:nvPr/>
        </p:nvSpPr>
        <p:spPr>
          <a:xfrm>
            <a:off x="3152840" y="2559333"/>
            <a:ext cx="647700" cy="216000"/>
          </a:xfrm>
          <a:prstGeom prst="flowChartManualOperati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000099"/>
                </a:solidFill>
              </a:rPr>
              <a:t>3a</a:t>
            </a:r>
            <a:endParaRPr lang="en-US" sz="1400" b="1" dirty="0">
              <a:solidFill>
                <a:srgbClr val="000099"/>
              </a:solidFill>
            </a:endParaRPr>
          </a:p>
        </p:txBody>
      </p:sp>
      <p:sp>
        <p:nvSpPr>
          <p:cNvPr id="53" name="Flowchart: Manual Operation 52"/>
          <p:cNvSpPr/>
          <p:nvPr/>
        </p:nvSpPr>
        <p:spPr>
          <a:xfrm>
            <a:off x="4651056" y="2559333"/>
            <a:ext cx="647700" cy="216000"/>
          </a:xfrm>
          <a:prstGeom prst="flowChartManualOperati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000099"/>
                </a:solidFill>
              </a:rPr>
              <a:t>4a</a:t>
            </a:r>
            <a:endParaRPr lang="en-US" sz="1400" b="1" dirty="0">
              <a:solidFill>
                <a:srgbClr val="000099"/>
              </a:solidFill>
            </a:endParaRPr>
          </a:p>
        </p:txBody>
      </p:sp>
      <p:cxnSp>
        <p:nvCxnSpPr>
          <p:cNvPr id="55" name="Straight Connector 54"/>
          <p:cNvCxnSpPr>
            <a:stCxn id="8" idx="2"/>
            <a:endCxn id="97" idx="0"/>
          </p:cNvCxnSpPr>
          <p:nvPr/>
        </p:nvCxnSpPr>
        <p:spPr>
          <a:xfrm>
            <a:off x="1245772" y="2472795"/>
            <a:ext cx="1783" cy="2066568"/>
          </a:xfrm>
          <a:prstGeom prst="line">
            <a:avLst/>
          </a:prstGeom>
          <a:ln w="19050">
            <a:solidFill>
              <a:srgbClr val="00B050"/>
            </a:solidFill>
            <a:prstDash val="solid"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stCxn id="10" idx="2"/>
            <a:endCxn id="99" idx="0"/>
          </p:cNvCxnSpPr>
          <p:nvPr/>
        </p:nvCxnSpPr>
        <p:spPr>
          <a:xfrm flipH="1">
            <a:off x="2707011" y="2472795"/>
            <a:ext cx="15261" cy="2744087"/>
          </a:xfrm>
          <a:prstGeom prst="line">
            <a:avLst/>
          </a:prstGeom>
          <a:ln w="19050">
            <a:solidFill>
              <a:srgbClr val="00B050"/>
            </a:solidFill>
            <a:prstDash val="solid"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52" idx="2"/>
          </p:cNvCxnSpPr>
          <p:nvPr/>
        </p:nvCxnSpPr>
        <p:spPr>
          <a:xfrm>
            <a:off x="3476690" y="2775333"/>
            <a:ext cx="0" cy="1327510"/>
          </a:xfrm>
          <a:prstGeom prst="line">
            <a:avLst/>
          </a:prstGeom>
          <a:ln w="19050">
            <a:solidFill>
              <a:srgbClr val="99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endCxn id="100" idx="0"/>
          </p:cNvCxnSpPr>
          <p:nvPr/>
        </p:nvCxnSpPr>
        <p:spPr>
          <a:xfrm>
            <a:off x="4204596" y="2433883"/>
            <a:ext cx="20239" cy="3108589"/>
          </a:xfrm>
          <a:prstGeom prst="line">
            <a:avLst/>
          </a:prstGeom>
          <a:ln w="19050">
            <a:solidFill>
              <a:srgbClr val="00B050"/>
            </a:solidFill>
            <a:prstDash val="solid"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endCxn id="101" idx="0"/>
          </p:cNvCxnSpPr>
          <p:nvPr/>
        </p:nvCxnSpPr>
        <p:spPr>
          <a:xfrm flipH="1">
            <a:off x="5395924" y="2476740"/>
            <a:ext cx="195681" cy="3663278"/>
          </a:xfrm>
          <a:prstGeom prst="line">
            <a:avLst/>
          </a:prstGeom>
          <a:ln w="19050">
            <a:solidFill>
              <a:srgbClr val="00B050"/>
            </a:solidFill>
            <a:prstDash val="solid"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350196" y="2684974"/>
            <a:ext cx="2802644" cy="39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/>
            <a:r>
              <a:rPr lang="en-US" sz="1100" dirty="0" smtClean="0">
                <a:latin typeface="Arial Rounded MT Bold" pitchFamily="34" charset="0"/>
              </a:rPr>
              <a:t>Exploration activities, Seismic, Well Testing, Drilling Etc.,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775623" y="3174349"/>
            <a:ext cx="2291835" cy="2616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/>
            <a:r>
              <a:rPr lang="en-US" sz="1100" dirty="0" smtClean="0">
                <a:latin typeface="Arial Rounded MT Bold" pitchFamily="34" charset="0"/>
              </a:rPr>
              <a:t>Field Development Planning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2520082" y="3539601"/>
            <a:ext cx="937226" cy="36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latin typeface="Arial Rounded MT Bold" pitchFamily="34" charset="0"/>
              </a:rPr>
              <a:t>Feasibility Studies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3497981" y="3539601"/>
            <a:ext cx="687159" cy="36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latin typeface="Arial Rounded MT Bold" pitchFamily="34" charset="0"/>
              </a:rPr>
              <a:t>Pre-</a:t>
            </a:r>
            <a:r>
              <a:rPr lang="en-US" sz="1000" dirty="0" err="1" smtClean="0">
                <a:latin typeface="Arial Rounded MT Bold" pitchFamily="34" charset="0"/>
              </a:rPr>
              <a:t>Engg</a:t>
            </a:r>
            <a:r>
              <a:rPr lang="en-US" sz="1000" dirty="0" smtClean="0">
                <a:latin typeface="Arial Rounded MT Bold" pitchFamily="34" charset="0"/>
              </a:rPr>
              <a:t>.</a:t>
            </a:r>
            <a:endParaRPr lang="en-US" sz="1000" dirty="0">
              <a:latin typeface="Arial Rounded MT Bold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231785" y="3579623"/>
            <a:ext cx="638519" cy="2616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sz="1100" dirty="0" smtClean="0">
                <a:latin typeface="Arial Rounded MT Bold" pitchFamily="34" charset="0"/>
              </a:rPr>
              <a:t>FEED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7020254" y="3145055"/>
            <a:ext cx="1938920" cy="2616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/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638543" y="3145056"/>
            <a:ext cx="1939304" cy="2616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/>
            <a:r>
              <a:rPr lang="en-US" sz="1100" dirty="0" smtClean="0">
                <a:latin typeface="Arial Rounded MT Bold" pitchFamily="34" charset="0"/>
              </a:rPr>
              <a:t>Drilling / Well Completion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5259967" y="3637991"/>
            <a:ext cx="1530744" cy="2616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latin typeface="Arial Rounded MT Bold" pitchFamily="34" charset="0"/>
              </a:rPr>
              <a:t>Detailed Design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5484994" y="3899601"/>
            <a:ext cx="1228592" cy="2616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latin typeface="Arial Rounded MT Bold" pitchFamily="34" charset="0"/>
              </a:rPr>
              <a:t>Procurement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5700055" y="4161211"/>
            <a:ext cx="1171028" cy="2616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latin typeface="Arial Rounded MT Bold" pitchFamily="34" charset="0"/>
              </a:rPr>
              <a:t>Construction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5817957" y="4422821"/>
            <a:ext cx="1333867" cy="2616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latin typeface="Arial Rounded MT Bold" pitchFamily="34" charset="0"/>
              </a:rPr>
              <a:t>Commissioning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6782575" y="4684431"/>
            <a:ext cx="828422" cy="26161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latin typeface="Arial Rounded MT Bold" pitchFamily="34" charset="0"/>
              </a:rPr>
              <a:t>Start-up</a:t>
            </a:r>
            <a:endParaRPr lang="en-US" sz="1100" dirty="0">
              <a:latin typeface="Arial Rounded MT Bold" pitchFamily="34" charset="0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527555" y="4539363"/>
            <a:ext cx="1440000" cy="595678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Approved, </a:t>
            </a:r>
            <a:r>
              <a:rPr lang="en-US" sz="1050" dirty="0" smtClean="0">
                <a:solidFill>
                  <a:srgbClr val="000099"/>
                </a:solidFill>
                <a:latin typeface="Arial Rounded MT Bold" pitchFamily="34" charset="0"/>
              </a:rPr>
              <a:t>Detailed Exploration Work Program </a:t>
            </a:r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&amp; </a:t>
            </a:r>
            <a:r>
              <a:rPr lang="en-US" sz="1050" dirty="0" smtClean="0">
                <a:solidFill>
                  <a:srgbClr val="000099"/>
                </a:solidFill>
                <a:latin typeface="Arial Rounded MT Bold" pitchFamily="34" charset="0"/>
              </a:rPr>
              <a:t>Budget</a:t>
            </a:r>
            <a:endParaRPr lang="en-US" sz="1050" dirty="0">
              <a:solidFill>
                <a:srgbClr val="000099"/>
              </a:solidFill>
              <a:latin typeface="Arial Rounded MT Bold" pitchFamily="34" charset="0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1987011" y="5216882"/>
            <a:ext cx="1440000" cy="357068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Appraisal strategy &amp; program 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3504835" y="5542472"/>
            <a:ext cx="1440000" cy="385388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Field Development Plan 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4476730" y="6140018"/>
            <a:ext cx="1838387" cy="445612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Building facilities &amp; Hand over </a:t>
            </a:r>
            <a:r>
              <a:rPr lang="en-US" sz="1050" dirty="0" smtClean="0">
                <a:solidFill>
                  <a:srgbClr val="000099"/>
                </a:solidFill>
                <a:latin typeface="Arial Rounded MT Bold" pitchFamily="34" charset="0"/>
              </a:rPr>
              <a:t>to Operation </a:t>
            </a:r>
            <a:endParaRPr lang="en-US" sz="1050" dirty="0">
              <a:solidFill>
                <a:srgbClr val="000099"/>
              </a:solidFill>
              <a:latin typeface="Arial Rounded MT Bold" pitchFamily="34" charset="0"/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8392195" y="6177062"/>
            <a:ext cx="1440000" cy="505840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De-commissioning plan, </a:t>
            </a:r>
            <a:r>
              <a:rPr lang="en-US" sz="1050" dirty="0" smtClean="0">
                <a:solidFill>
                  <a:srgbClr val="000099"/>
                </a:solidFill>
                <a:latin typeface="Arial Rounded MT Bold" pitchFamily="34" charset="0"/>
              </a:rPr>
              <a:t>Execution </a:t>
            </a:r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and </a:t>
            </a:r>
            <a:r>
              <a:rPr lang="en-US" sz="1050" dirty="0" err="1" smtClean="0">
                <a:solidFill>
                  <a:srgbClr val="000099"/>
                </a:solidFill>
                <a:latin typeface="Arial Rounded MT Bold" pitchFamily="34" charset="0"/>
              </a:rPr>
              <a:t>Env</a:t>
            </a:r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. impact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7797256" y="5362797"/>
            <a:ext cx="1440000" cy="490536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rgbClr val="000099"/>
                </a:solidFill>
                <a:latin typeface="Arial Rounded MT Bold" pitchFamily="34" charset="0"/>
              </a:rPr>
              <a:t>SOP’s </a:t>
            </a:r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for actual performance Vs. business proposal</a:t>
            </a:r>
          </a:p>
        </p:txBody>
      </p:sp>
      <p:cxnSp>
        <p:nvCxnSpPr>
          <p:cNvPr id="122" name="Elbow Connector 121"/>
          <p:cNvCxnSpPr>
            <a:stCxn id="31" idx="2"/>
            <a:endCxn id="116" idx="3"/>
          </p:cNvCxnSpPr>
          <p:nvPr/>
        </p:nvCxnSpPr>
        <p:spPr>
          <a:xfrm rot="16200000" flipH="1">
            <a:off x="7459886" y="3830695"/>
            <a:ext cx="3135270" cy="419470"/>
          </a:xfrm>
          <a:prstGeom prst="bentConnector4">
            <a:avLst>
              <a:gd name="adj1" fmla="val 16924"/>
              <a:gd name="adj2" fmla="val 133626"/>
            </a:avLst>
          </a:prstGeom>
          <a:ln w="19050">
            <a:solidFill>
              <a:srgbClr val="00B050"/>
            </a:solidFill>
            <a:prstDash val="solid"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25"/>
          <p:cNvCxnSpPr>
            <a:stCxn id="31" idx="3"/>
          </p:cNvCxnSpPr>
          <p:nvPr/>
        </p:nvCxnSpPr>
        <p:spPr>
          <a:xfrm>
            <a:off x="9053313" y="2203839"/>
            <a:ext cx="518704" cy="3973223"/>
          </a:xfrm>
          <a:prstGeom prst="bentConnector2">
            <a:avLst/>
          </a:prstGeom>
          <a:ln w="19050">
            <a:solidFill>
              <a:srgbClr val="00B050"/>
            </a:solidFill>
            <a:prstDash val="solid"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129"/>
          <p:cNvSpPr/>
          <p:nvPr/>
        </p:nvSpPr>
        <p:spPr>
          <a:xfrm>
            <a:off x="6374413" y="5893130"/>
            <a:ext cx="1440000" cy="385388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rgbClr val="000099"/>
                </a:solidFill>
                <a:latin typeface="Arial Rounded MT Bold" pitchFamily="34" charset="0"/>
              </a:rPr>
              <a:t>Certification to  build up facilities </a:t>
            </a:r>
          </a:p>
        </p:txBody>
      </p:sp>
      <p:cxnSp>
        <p:nvCxnSpPr>
          <p:cNvPr id="135" name="Straight Connector 134"/>
          <p:cNvCxnSpPr>
            <a:stCxn id="16" idx="2"/>
            <a:endCxn id="130" idx="0"/>
          </p:cNvCxnSpPr>
          <p:nvPr/>
        </p:nvCxnSpPr>
        <p:spPr>
          <a:xfrm>
            <a:off x="7020254" y="2472795"/>
            <a:ext cx="74159" cy="3420335"/>
          </a:xfrm>
          <a:prstGeom prst="line">
            <a:avLst/>
          </a:prstGeom>
          <a:ln w="19050">
            <a:solidFill>
              <a:srgbClr val="00B050"/>
            </a:solidFill>
            <a:prstDash val="solid"/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itle 1"/>
          <p:cNvSpPr>
            <a:spLocks noGrp="1"/>
          </p:cNvSpPr>
          <p:nvPr>
            <p:ph type="title"/>
          </p:nvPr>
        </p:nvSpPr>
        <p:spPr>
          <a:xfrm>
            <a:off x="306388" y="537387"/>
            <a:ext cx="8329612" cy="357559"/>
          </a:xfrm>
        </p:spPr>
        <p:txBody>
          <a:bodyPr/>
          <a:lstStyle/>
          <a:p>
            <a:r>
              <a:rPr lang="en-US" sz="2000" dirty="0" smtClean="0"/>
              <a:t>GATED PROCESS: 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1014021" y="1108992"/>
            <a:ext cx="7177543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en-US" sz="1800" dirty="0" smtClean="0"/>
              <a:t>Thorough Review of each Stage by panel experts</a:t>
            </a:r>
          </a:p>
          <a:p>
            <a:pPr marL="457200" indent="-4572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en-US" sz="1800" dirty="0" smtClean="0"/>
              <a:t>All recommendations are appraised at a particular stage only</a:t>
            </a:r>
          </a:p>
          <a:p>
            <a:pPr marL="457200" indent="-4572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en-US" sz="1800" dirty="0" smtClean="0"/>
              <a:t>A transparent governance is established</a:t>
            </a:r>
          </a:p>
          <a:p>
            <a:pPr marL="457200" indent="-4572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en-US" sz="1800" dirty="0" smtClean="0"/>
              <a:t>Helps Timely Completion of Projects</a:t>
            </a:r>
          </a:p>
          <a:p>
            <a:pPr marL="457200" indent="-4572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en-US" sz="1800" dirty="0" smtClean="0"/>
              <a:t>Instantly addressing technical queries, deviation </a:t>
            </a:r>
          </a:p>
          <a:p>
            <a:pPr marL="457200" indent="-457200" algn="just">
              <a:lnSpc>
                <a:spcPct val="150000"/>
              </a:lnSpc>
              <a:buFont typeface="Wingdings" pitchFamily="2" charset="2"/>
              <a:buChar char="v"/>
              <a:defRPr/>
            </a:pPr>
            <a:r>
              <a:rPr lang="en-US" sz="1800" dirty="0" smtClean="0"/>
              <a:t>Helps assuring a qualitative quotient with the stake holders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06388" y="556843"/>
            <a:ext cx="8329612" cy="357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0009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9pPr>
          </a:lstStyle>
          <a:p>
            <a:r>
              <a:rPr lang="en-US" sz="2000" dirty="0" smtClean="0"/>
              <a:t>GATED PROCESS:  - Advantages </a:t>
            </a:r>
            <a:endParaRPr lang="en-US" sz="2000" dirty="0"/>
          </a:p>
        </p:txBody>
      </p:sp>
      <p:pic>
        <p:nvPicPr>
          <p:cNvPr id="1026" name="Picture 2" descr="D:\KVSNHL SASTRY\New folder\Cairn_MG_528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98068" y="5101778"/>
            <a:ext cx="1908000" cy="1263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KVSNHL SASTRY\New folder\YE0N7155 RET L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6404" y="5094879"/>
            <a:ext cx="1810800" cy="1267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:\KVSNHL SASTRY\New folder\_MG_080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35681" y="5094878"/>
            <a:ext cx="1908000" cy="127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D:\KVSNHL SASTRY\New folder\_VAC1072_10-08-31_53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95" y="5094879"/>
            <a:ext cx="1908000" cy="1267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:\KVSNHL SASTRY\YE0N063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90116" y="5094878"/>
            <a:ext cx="1908000" cy="1267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51757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306388" y="1070307"/>
            <a:ext cx="9358312" cy="170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sz="1800" dirty="0" smtClean="0"/>
              <a:t>Put </a:t>
            </a:r>
            <a:r>
              <a:rPr lang="en-US" sz="1800" dirty="0"/>
              <a:t>together all panel experts at the same time.</a:t>
            </a:r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sz="1800" dirty="0" smtClean="0"/>
              <a:t>Constituting </a:t>
            </a:r>
            <a:r>
              <a:rPr lang="en-US" sz="1800" dirty="0"/>
              <a:t>a competent bench strength for the </a:t>
            </a:r>
            <a:r>
              <a:rPr lang="en-US" sz="1800" dirty="0" smtClean="0"/>
              <a:t>activity.</a:t>
            </a:r>
            <a:endParaRPr lang="en-US" sz="1800" dirty="0"/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sz="1800" dirty="0" smtClean="0"/>
              <a:t>Timely </a:t>
            </a:r>
            <a:r>
              <a:rPr lang="en-US" sz="1800" dirty="0"/>
              <a:t>closure of all the </a:t>
            </a:r>
            <a:r>
              <a:rPr lang="en-US" sz="1800" dirty="0" smtClean="0"/>
              <a:t>observations.</a:t>
            </a:r>
            <a:endParaRPr lang="en-US" sz="1800" dirty="0"/>
          </a:p>
          <a:p>
            <a:pPr marL="457200" indent="-457200" algn="just">
              <a:lnSpc>
                <a:spcPts val="3000"/>
              </a:lnSpc>
              <a:buFont typeface="Wingdings" pitchFamily="2" charset="2"/>
              <a:buChar char="v"/>
            </a:pPr>
            <a:r>
              <a:rPr lang="en-US" sz="1800" dirty="0" smtClean="0"/>
              <a:t>Prevention of repetitive re-occurrence.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06388" y="556843"/>
            <a:ext cx="8329612" cy="357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0009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FFFFFF"/>
                </a:solidFill>
                <a:latin typeface="Arial" pitchFamily="34" charset="0"/>
              </a:defRPr>
            </a:lvl9pPr>
          </a:lstStyle>
          <a:p>
            <a:r>
              <a:rPr lang="en-US" sz="2000" dirty="0" smtClean="0"/>
              <a:t>GATED PROCESS:  - </a:t>
            </a:r>
            <a:r>
              <a:rPr lang="en-US" sz="2000" dirty="0"/>
              <a:t>Challenges</a:t>
            </a:r>
            <a:r>
              <a:rPr lang="en-US" sz="2000" dirty="0" smtClean="0"/>
              <a:t> </a:t>
            </a:r>
            <a:endParaRPr lang="en-US" sz="2000" dirty="0"/>
          </a:p>
        </p:txBody>
      </p:sp>
      <p:pic>
        <p:nvPicPr>
          <p:cNvPr id="2050" name="Picture 2" descr="D:\KVSNHL SASTRY\New folder\_MG_296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38359" y="5323223"/>
            <a:ext cx="1872000" cy="1281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D:\KVSNHL SASTRY\New folder\_VAC7074_11-01-06_1531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20618" y="5323222"/>
            <a:ext cx="1872000" cy="124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D:\KVSNHL SASTRY\New folder\_VAC7379_10-10-20_638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812" y="5323222"/>
            <a:ext cx="1872000" cy="124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D:\KVSNHL SASTRY\New folder\_VAC7490_11-01-07_1569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77888" y="5323222"/>
            <a:ext cx="1872000" cy="124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D:\KVSNHL SASTRY\New folder\00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65561" y="5323221"/>
            <a:ext cx="1872000" cy="1246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99945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MMPROD_UIDATA" val="&lt;database version=&quot;7.0&quot;&gt;&lt;object type=&quot;1&quot; unique_id=&quot;10001&quot;&gt;&lt;object type=&quot;8&quot; unique_id=&quot;10123&quot;&gt;&lt;/object&gt;&lt;object type=&quot;2&quot; unique_id=&quot;10124&quot;&gt;&lt;object type=&quot;3&quot; unique_id=&quot;10658&quot;&gt;&lt;property id=&quot;20148&quot; value=&quot;5&quot;/&gt;&lt;property id=&quot;20300&quot; value=&quot;Slide 1 - &amp;quot;Stakeholders Meeting&amp;#x0D;&amp;#x0A;26th August ’2011&amp;quot;&quot;/&gt;&lt;property id=&quot;20303&quot; value=&quot;-1&quot;/&gt;&lt;property id=&quot;20307&quot; value=&quot;270&quot;/&gt;&lt;/object&gt;&lt;object type=&quot;3&quot; unique_id=&quot;12388&quot;&gt;&lt;property id=&quot;20148&quot; value=&quot;5&quot;/&gt;&lt;property id=&quot;20300&quot; value=&quot;Slide 2 - &amp;quot;CSR – Rajasthan and Midstream&amp;quot;&quot;/&gt;&lt;property id=&quot;20307&quot; value=&quot;314&quot;/&gt;&lt;/object&gt;&lt;object type=&quot;3&quot; unique_id=&quot;12420&quot;&gt;&lt;property id=&quot;20148&quot; value=&quot;5&quot;/&gt;&lt;property id=&quot;20300&quot; value=&quot;Slide 3 - &amp;quot;Requests from DC, Barmer&amp;quot;&quot;/&gt;&lt;property id=&quot;20307&quot; value=&quot;315&quot;/&gt;&lt;/object&gt;&lt;/object&gt;&lt;object type=&quot;4&quot; unique_id=&quot;10732&quot;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VdHLksS02wa0oa_UznDg"/>
</p:tagLst>
</file>

<file path=ppt/theme/theme1.xml><?xml version="1.0" encoding="utf-8"?>
<a:theme xmlns:a="http://schemas.openxmlformats.org/drawingml/2006/main" name="Option1_color_03041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Microsoft Sans Serif"/>
        <a:ea typeface=""/>
        <a:cs typeface=""/>
      </a:majorFont>
      <a:minorFont>
        <a:latin typeface="Microsoft Sans Ser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SubTemplate_x0020_Type xmlns="af9035e6-076c-4428-b96c-87c1de65a28c">--Select--</SubTemplate_x0020_Type>
    <Form_x0020_Type xmlns="b2f86159-8a91-45ca-8a75-7ea9d12b8799">CORPORATE TEMPLATES</Form_x0020_Typ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922B427B00C14DA02C75D45AF9FE00" ma:contentTypeVersion="14" ma:contentTypeDescription="Create a new document." ma:contentTypeScope="" ma:versionID="66464f31d937fdca64774dbe26fc70fd">
  <xsd:schema xmlns:xsd="http://www.w3.org/2001/XMLSchema" xmlns:p="http://schemas.microsoft.com/office/2006/metadata/properties" xmlns:ns2="b2f86159-8a91-45ca-8a75-7ea9d12b8799" xmlns:ns3="af9035e6-076c-4428-b96c-87c1de65a28c" targetNamespace="http://schemas.microsoft.com/office/2006/metadata/properties" ma:root="true" ma:fieldsID="e16861a99b266e387e1ff3ae4a38af2f" ns2:_="" ns3:_="">
    <xsd:import namespace="b2f86159-8a91-45ca-8a75-7ea9d12b8799"/>
    <xsd:import namespace="af9035e6-076c-4428-b96c-87c1de65a28c"/>
    <xsd:element name="properties">
      <xsd:complexType>
        <xsd:sequence>
          <xsd:element name="documentManagement">
            <xsd:complexType>
              <xsd:all>
                <xsd:element ref="ns2:Form_x0020_Type" minOccurs="0"/>
                <xsd:element ref="ns3:SubTemplate_x0020_Typ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b2f86159-8a91-45ca-8a75-7ea9d12b8799" elementFormDefault="qualified">
    <xsd:import namespace="http://schemas.microsoft.com/office/2006/documentManagement/types"/>
    <xsd:element name="Form_x0020_Type" ma:index="8" nillable="true" ma:displayName="Template Type" ma:default="--Select--" ma:format="Dropdown" ma:internalName="Form_x0020_Type">
      <xsd:simpleType>
        <xsd:union memberTypes="dms:Text">
          <xsd:simpleType>
            <xsd:restriction base="dms:Choice">
              <xsd:enumeration value="--Select--"/>
              <xsd:enumeration value="CORPORATE TEMPLATES"/>
              <xsd:enumeration value="DEPARTMENTAL TEMPLATES"/>
              <xsd:enumeration value="ASSET-SPECIFIC TEMPLATES"/>
              <xsd:enumeration value="CEIL TEMPLATES"/>
            </xsd:restriction>
          </xsd:simpleType>
        </xsd:union>
      </xsd:simpleType>
    </xsd:element>
  </xsd:schema>
  <xsd:schema xmlns:xsd="http://www.w3.org/2001/XMLSchema" xmlns:dms="http://schemas.microsoft.com/office/2006/documentManagement/types" targetNamespace="af9035e6-076c-4428-b96c-87c1de65a28c" elementFormDefault="qualified">
    <xsd:import namespace="http://schemas.microsoft.com/office/2006/documentManagement/types"/>
    <xsd:element name="SubTemplate_x0020_Type" ma:index="9" nillable="true" ma:displayName="SubTemplate Type" ma:default="--Select--" ma:format="Dropdown" ma:internalName="SubTemplate_x0020_Type">
      <xsd:simpleType>
        <xsd:union memberTypes="dms:Text">
          <xsd:simpleType>
            <xsd:restriction base="dms:Choice">
              <xsd:enumeration value="--Select--"/>
              <xsd:enumeration value="CB-ONN-2001/1"/>
              <xsd:enumeration value="CB-ONN-2002/1"/>
              <xsd:enumeration value="CB/OS-2"/>
              <xsd:enumeration value="GS-OSN-2003/1"/>
              <xsd:enumeration value="GV-ONN-97/1"/>
              <xsd:enumeration value="GV-ONN-2002/1"/>
              <xsd:enumeration value="GV-ONN-2003/1"/>
              <xsd:enumeration value="KG-ONN-2003/1"/>
              <xsd:enumeration value="Ravva"/>
              <xsd:enumeration value="RJ-ON-90/1"/>
              <xsd:enumeration value="RJ-ONN-2003/1"/>
              <xsd:enumeration value="VN-ONN-2003/1"/>
              <xsd:enumeration value="PROGRAM OFFICE"/>
              <xsd:enumeration value="PSCM"/>
              <xsd:enumeration value="LAND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F29EC39E-A891-4774-A347-42FC16FAEE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8AE4208-5641-473A-ABF2-972FC7B9F5F9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b2f86159-8a91-45ca-8a75-7ea9d12b8799"/>
    <ds:schemaRef ds:uri="http://purl.org/dc/terms/"/>
    <ds:schemaRef ds:uri="http://schemas.openxmlformats.org/package/2006/metadata/core-properties"/>
    <ds:schemaRef ds:uri="http://www.w3.org/XML/1998/namespace"/>
    <ds:schemaRef ds:uri="af9035e6-076c-4428-b96c-87c1de65a28c"/>
  </ds:schemaRefs>
</ds:datastoreItem>
</file>

<file path=customXml/itemProps3.xml><?xml version="1.0" encoding="utf-8"?>
<ds:datastoreItem xmlns:ds="http://schemas.openxmlformats.org/officeDocument/2006/customXml" ds:itemID="{7E639F3E-B7F7-4D3D-BE83-D64BB92024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f86159-8a91-45ca-8a75-7ea9d12b8799"/>
    <ds:schemaRef ds:uri="af9035e6-076c-4428-b96c-87c1de65a28c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ption1_color_030412</Template>
  <TotalTime>733</TotalTime>
  <Words>612</Words>
  <Application>Microsoft Office PowerPoint</Application>
  <PresentationFormat>A4 Paper (210x297 mm)</PresentationFormat>
  <Paragraphs>146</Paragraphs>
  <Slides>1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ption1_color_030412</vt:lpstr>
      <vt:lpstr>MEASURES TO BE TAKEN AT DESIGN STAGE FOR  IMPROVING QUALITY  GATED  PROCESS</vt:lpstr>
      <vt:lpstr>Slide 2</vt:lpstr>
      <vt:lpstr>GATED PROCESS: </vt:lpstr>
      <vt:lpstr>GATED PROCESS: </vt:lpstr>
      <vt:lpstr>GATED PROCESS: </vt:lpstr>
      <vt:lpstr>GATED PROCESS: </vt:lpstr>
      <vt:lpstr>GATED PROCESS: </vt:lpstr>
      <vt:lpstr>Slide 8</vt:lpstr>
      <vt:lpstr>Slide 9</vt:lpstr>
      <vt:lpstr>Slide 10</vt:lpstr>
      <vt:lpstr>Slide 11</vt:lpstr>
      <vt:lpstr>Slide 12</vt:lpstr>
    </vt:vector>
  </TitlesOfParts>
  <Company>Cairn Indi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CCI Presentation</dc:title>
  <dc:creator>ganirban</dc:creator>
  <cp:lastModifiedBy>ganirban</cp:lastModifiedBy>
  <cp:revision>86</cp:revision>
  <dcterms:created xsi:type="dcterms:W3CDTF">2013-05-06T06:15:30Z</dcterms:created>
  <dcterms:modified xsi:type="dcterms:W3CDTF">2013-05-13T07:2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37408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5.0.3</vt:lpwstr>
  </property>
  <property fmtid="{D5CDD505-2E9C-101B-9397-08002B2CF9AE}" pid="5" name="ContentTypeId">
    <vt:lpwstr>0x010100DB922B427B00C14DA02C75D45AF9FE00</vt:lpwstr>
  </property>
</Properties>
</file>